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4" r:id="rId4"/>
  </p:sldMasterIdLst>
  <p:notesMasterIdLst>
    <p:notesMasterId r:id="rId12"/>
  </p:notesMasterIdLst>
  <p:handoutMasterIdLst>
    <p:handoutMasterId r:id="rId13"/>
  </p:handoutMasterIdLst>
  <p:sldIdLst>
    <p:sldId id="2147474934" r:id="rId5"/>
    <p:sldId id="2147474933" r:id="rId6"/>
    <p:sldId id="268" r:id="rId7"/>
    <p:sldId id="267" r:id="rId8"/>
    <p:sldId id="260" r:id="rId9"/>
    <p:sldId id="266" r:id="rId10"/>
    <p:sldId id="2147474935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1030" userDrawn="1">
          <p15:clr>
            <a:srgbClr val="A4A3A4"/>
          </p15:clr>
        </p15:guide>
        <p15:guide id="4" orient="horz" pos="2731" userDrawn="1">
          <p15:clr>
            <a:srgbClr val="A4A3A4"/>
          </p15:clr>
        </p15:guide>
        <p15:guide id="5" orient="horz" pos="684">
          <p15:clr>
            <a:srgbClr val="A4A3A4"/>
          </p15:clr>
        </p15:guide>
        <p15:guide id="6" orient="horz" pos="509" userDrawn="1">
          <p15:clr>
            <a:srgbClr val="A4A3A4"/>
          </p15:clr>
        </p15:guide>
        <p15:guide id="7" orient="horz" pos="3122">
          <p15:clr>
            <a:srgbClr val="A4A3A4"/>
          </p15:clr>
        </p15:guide>
        <p15:guide id="8" orient="horz" pos="2995">
          <p15:clr>
            <a:srgbClr val="A4A3A4"/>
          </p15:clr>
        </p15:guide>
        <p15:guide id="9" orient="horz" pos="2096" userDrawn="1">
          <p15:clr>
            <a:srgbClr val="A4A3A4"/>
          </p15:clr>
        </p15:guide>
        <p15:guide id="10" orient="horz" pos="804">
          <p15:clr>
            <a:srgbClr val="A4A3A4"/>
          </p15:clr>
        </p15:guide>
        <p15:guide id="11" orient="horz" pos="333">
          <p15:clr>
            <a:srgbClr val="A4A3A4"/>
          </p15:clr>
        </p15:guide>
        <p15:guide id="12" pos="337">
          <p15:clr>
            <a:srgbClr val="A4A3A4"/>
          </p15:clr>
        </p15:guide>
        <p15:guide id="13" pos="5448">
          <p15:clr>
            <a:srgbClr val="A4A3A4"/>
          </p15:clr>
        </p15:guide>
        <p15:guide id="14" pos="2881">
          <p15:clr>
            <a:srgbClr val="A4A3A4"/>
          </p15:clr>
        </p15:guide>
        <p15:guide id="15" pos="786">
          <p15:clr>
            <a:srgbClr val="A4A3A4"/>
          </p15:clr>
        </p15:guide>
        <p15:guide id="16" pos="5031">
          <p15:clr>
            <a:srgbClr val="A4A3A4"/>
          </p15:clr>
        </p15:guide>
        <p15:guide id="17" orient="horz" pos="1445">
          <p15:clr>
            <a:srgbClr val="A4A3A4"/>
          </p15:clr>
        </p15:guide>
        <p15:guide id="18" orient="horz" pos="304">
          <p15:clr>
            <a:srgbClr val="A4A3A4"/>
          </p15:clr>
        </p15:guide>
        <p15:guide id="19" orient="horz" pos="233">
          <p15:clr>
            <a:srgbClr val="A4A3A4"/>
          </p15:clr>
        </p15:guide>
        <p15:guide id="20" orient="horz" pos="1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100"/>
    <a:srgbClr val="031A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1D73EE-BDE1-40A6-9B6D-957CBA750965}" v="22" dt="2024-07-03T07:39:24.5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760" autoAdjust="0"/>
  </p:normalViewPr>
  <p:slideViewPr>
    <p:cSldViewPr snapToGrid="0" showGuides="1">
      <p:cViewPr varScale="1">
        <p:scale>
          <a:sx n="106" d="100"/>
          <a:sy n="106" d="100"/>
        </p:scale>
        <p:origin x="734" y="72"/>
      </p:cViewPr>
      <p:guideLst>
        <p:guide orient="horz" pos="1620"/>
        <p:guide pos="2880"/>
        <p:guide orient="horz" pos="1030"/>
        <p:guide orient="horz" pos="2731"/>
        <p:guide orient="horz" pos="684"/>
        <p:guide orient="horz" pos="509"/>
        <p:guide orient="horz" pos="3122"/>
        <p:guide orient="horz" pos="2995"/>
        <p:guide orient="horz" pos="2096"/>
        <p:guide orient="horz" pos="804"/>
        <p:guide orient="horz" pos="333"/>
        <p:guide pos="337"/>
        <p:guide pos="5448"/>
        <p:guide pos="2881"/>
        <p:guide pos="786"/>
        <p:guide pos="5031"/>
        <p:guide orient="horz" pos="1445"/>
        <p:guide orient="horz" pos="304"/>
        <p:guide orient="horz" pos="233"/>
        <p:guide orient="horz" pos="1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28"/>
    </p:cViewPr>
  </p:sorterViewPr>
  <p:notesViewPr>
    <p:cSldViewPr snapToGrid="0" showGuides="1">
      <p:cViewPr varScale="1">
        <p:scale>
          <a:sx n="125" d="100"/>
          <a:sy n="125" d="100"/>
        </p:scale>
        <p:origin x="-4863" y="-6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imitri Militschenko" userId="2698819e-f51f-4938-ae1b-875ffc6b70b6" providerId="ADAL" clId="{A94DE860-344F-4223-82B3-A79F9E6FDCEA}"/>
    <pc:docChg chg="undo redo custSel addSld delSld modSld replTag">
      <pc:chgData name="Dimitri Militschenko" userId="2698819e-f51f-4938-ae1b-875ffc6b70b6" providerId="ADAL" clId="{A94DE860-344F-4223-82B3-A79F9E6FDCEA}" dt="2024-06-07T09:48:33.919" v="1163" actId="1037"/>
      <pc:docMkLst>
        <pc:docMk/>
      </pc:docMkLst>
      <pc:sldChg chg="addSp delSp modSp mod">
        <pc:chgData name="Dimitri Militschenko" userId="2698819e-f51f-4938-ae1b-875ffc6b70b6" providerId="ADAL" clId="{A94DE860-344F-4223-82B3-A79F9E6FDCEA}" dt="2024-06-07T09:39:58.445" v="199" actId="790"/>
        <pc:sldMkLst>
          <pc:docMk/>
          <pc:sldMk cId="1886290154" sldId="260"/>
        </pc:sldMkLst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2" creationId="{70986EAD-B8EE-4913-18CF-DA6B9965B300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3" creationId="{AB79552E-00BC-4135-D4C0-1678A0E8DF5E}"/>
          </ac:spMkLst>
        </pc:spChg>
        <pc:spChg chg="mod">
          <ac:chgData name="Dimitri Militschenko" userId="2698819e-f51f-4938-ae1b-875ffc6b70b6" providerId="ADAL" clId="{A94DE860-344F-4223-82B3-A79F9E6FDCEA}" dt="2024-06-07T09:39:58.445" v="199" actId="790"/>
          <ac:spMkLst>
            <pc:docMk/>
            <pc:sldMk cId="1886290154" sldId="260"/>
            <ac:spMk id="4" creationId="{DE95C3E3-719D-4345-B914-4108A41722B1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7" creationId="{D7630B34-8679-7C17-6834-26FBB4D11257}"/>
          </ac:spMkLst>
        </pc:spChg>
        <pc:spChg chg="del">
          <ac:chgData name="Dimitri Militschenko" userId="2698819e-f51f-4938-ae1b-875ffc6b70b6" providerId="ADAL" clId="{A94DE860-344F-4223-82B3-A79F9E6FDCEA}" dt="2024-06-07T09:31:33.808" v="130" actId="478"/>
          <ac:spMkLst>
            <pc:docMk/>
            <pc:sldMk cId="1886290154" sldId="260"/>
            <ac:spMk id="8" creationId="{B8C227EA-D214-4E6D-BEDF-22834850F220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9" creationId="{216CA04F-06ED-1F99-E059-E1236FFEF2D4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10" creationId="{AC33B21B-92F6-6DE1-76B8-471D076B00A3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11" creationId="{4FB0DFB1-6B15-EA60-3861-10D1FCF5481A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12" creationId="{CCD35ACA-A32C-E364-08CB-5DCF26355DE9}"/>
          </ac:spMkLst>
        </pc:spChg>
        <pc:spChg chg="add mod">
          <ac:chgData name="Dimitri Militschenko" userId="2698819e-f51f-4938-ae1b-875ffc6b70b6" providerId="ADAL" clId="{A94DE860-344F-4223-82B3-A79F9E6FDCEA}" dt="2024-06-07T09:28:55.247" v="96"/>
          <ac:spMkLst>
            <pc:docMk/>
            <pc:sldMk cId="1886290154" sldId="260"/>
            <ac:spMk id="13" creationId="{DC8C4DD3-0A35-327C-16CA-22172168C617}"/>
          </ac:spMkLst>
        </pc:spChg>
        <pc:spChg chg="add mod">
          <ac:chgData name="Dimitri Militschenko" userId="2698819e-f51f-4938-ae1b-875ffc6b70b6" providerId="ADAL" clId="{A94DE860-344F-4223-82B3-A79F9E6FDCEA}" dt="2024-06-07T09:29:44.201" v="118" actId="20577"/>
          <ac:spMkLst>
            <pc:docMk/>
            <pc:sldMk cId="1886290154" sldId="260"/>
            <ac:spMk id="14" creationId="{CCFD0935-9D52-682E-95A2-E7EC64933B5C}"/>
          </ac:spMkLst>
        </pc:spChg>
        <pc:spChg chg="add mod">
          <ac:chgData name="Dimitri Militschenko" userId="2698819e-f51f-4938-ae1b-875ffc6b70b6" providerId="ADAL" clId="{A94DE860-344F-4223-82B3-A79F9E6FDCEA}" dt="2024-06-07T09:29:10.238" v="101"/>
          <ac:spMkLst>
            <pc:docMk/>
            <pc:sldMk cId="1886290154" sldId="260"/>
            <ac:spMk id="15" creationId="{C900F989-609E-598B-D1C6-04AD8FD7E506}"/>
          </ac:spMkLst>
        </pc:spChg>
        <pc:spChg chg="add mod">
          <ac:chgData name="Dimitri Militschenko" userId="2698819e-f51f-4938-ae1b-875ffc6b70b6" providerId="ADAL" clId="{A94DE860-344F-4223-82B3-A79F9E6FDCEA}" dt="2024-06-07T09:29:10.238" v="101"/>
          <ac:spMkLst>
            <pc:docMk/>
            <pc:sldMk cId="1886290154" sldId="260"/>
            <ac:spMk id="16" creationId="{2F5EB553-2B1C-7664-86E3-72CD210AB8BD}"/>
          </ac:spMkLst>
        </pc:spChg>
        <pc:spChg chg="add mod">
          <ac:chgData name="Dimitri Militschenko" userId="2698819e-f51f-4938-ae1b-875ffc6b70b6" providerId="ADAL" clId="{A94DE860-344F-4223-82B3-A79F9E6FDCEA}" dt="2024-06-07T09:30:27.334" v="120" actId="20577"/>
          <ac:spMkLst>
            <pc:docMk/>
            <pc:sldMk cId="1886290154" sldId="260"/>
            <ac:spMk id="17" creationId="{C01EF319-FF90-C810-5315-F32D6104835B}"/>
          </ac:spMkLst>
        </pc:spChg>
        <pc:spChg chg="add mod">
          <ac:chgData name="Dimitri Militschenko" userId="2698819e-f51f-4938-ae1b-875ffc6b70b6" providerId="ADAL" clId="{A94DE860-344F-4223-82B3-A79F9E6FDCEA}" dt="2024-06-07T09:38:27.907" v="198" actId="20577"/>
          <ac:spMkLst>
            <pc:docMk/>
            <pc:sldMk cId="1886290154" sldId="260"/>
            <ac:spMk id="18" creationId="{A67A1F83-78CC-093A-2DA7-C6193048CB32}"/>
          </ac:spMkLst>
        </pc:spChg>
        <pc:spChg chg="add mod">
          <ac:chgData name="Dimitri Militschenko" userId="2698819e-f51f-4938-ae1b-875ffc6b70b6" providerId="ADAL" clId="{A94DE860-344F-4223-82B3-A79F9E6FDCEA}" dt="2024-06-07T09:29:10.238" v="101"/>
          <ac:spMkLst>
            <pc:docMk/>
            <pc:sldMk cId="1886290154" sldId="260"/>
            <ac:spMk id="19" creationId="{C0B79DA1-C477-B8B8-1E54-A340BAA24E86}"/>
          </ac:spMkLst>
        </pc:spChg>
        <pc:spChg chg="add mod">
          <ac:chgData name="Dimitri Militschenko" userId="2698819e-f51f-4938-ae1b-875ffc6b70b6" providerId="ADAL" clId="{A94DE860-344F-4223-82B3-A79F9E6FDCEA}" dt="2024-06-07T09:29:10.238" v="101"/>
          <ac:spMkLst>
            <pc:docMk/>
            <pc:sldMk cId="1886290154" sldId="260"/>
            <ac:spMk id="20" creationId="{BFB7F699-1232-28E9-BB6C-67B6C73B3ECD}"/>
          </ac:spMkLst>
        </pc:spChg>
        <pc:spChg chg="add mod">
          <ac:chgData name="Dimitri Militschenko" userId="2698819e-f51f-4938-ae1b-875ffc6b70b6" providerId="ADAL" clId="{A94DE860-344F-4223-82B3-A79F9E6FDCEA}" dt="2024-06-07T09:30:46.062" v="122"/>
          <ac:spMkLst>
            <pc:docMk/>
            <pc:sldMk cId="1886290154" sldId="260"/>
            <ac:spMk id="21" creationId="{2476A543-6837-EF6E-5140-E8006ABE223B}"/>
          </ac:spMkLst>
        </pc:spChg>
        <pc:spChg chg="del mod">
          <ac:chgData name="Dimitri Militschenko" userId="2698819e-f51f-4938-ae1b-875ffc6b70b6" providerId="ADAL" clId="{A94DE860-344F-4223-82B3-A79F9E6FDCEA}" dt="2024-06-07T09:31:39.830" v="133" actId="478"/>
          <ac:spMkLst>
            <pc:docMk/>
            <pc:sldMk cId="1886290154" sldId="260"/>
            <ac:spMk id="22" creationId="{C8212638-18AA-4F5B-9630-5FD28D42FD24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23" creationId="{3105CBF0-4B1A-428F-BFAE-F0B87A93CAEF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24" creationId="{7209371D-5068-42F2-96C9-585E87003664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26" creationId="{9DFB2138-DADA-4130-853E-27DCC0204AD1}"/>
          </ac:spMkLst>
        </pc:spChg>
        <pc:spChg chg="del">
          <ac:chgData name="Dimitri Militschenko" userId="2698819e-f51f-4938-ae1b-875ffc6b70b6" providerId="ADAL" clId="{A94DE860-344F-4223-82B3-A79F9E6FDCEA}" dt="2024-06-07T09:31:35.074" v="131" actId="478"/>
          <ac:spMkLst>
            <pc:docMk/>
            <pc:sldMk cId="1886290154" sldId="260"/>
            <ac:spMk id="27" creationId="{4A7E5DF6-43C4-4B1E-9B74-85D0069B6441}"/>
          </ac:spMkLst>
        </pc:spChg>
        <pc:spChg chg="add mod">
          <ac:chgData name="Dimitri Militschenko" userId="2698819e-f51f-4938-ae1b-875ffc6b70b6" providerId="ADAL" clId="{A94DE860-344F-4223-82B3-A79F9E6FDCEA}" dt="2024-06-07T09:34:27.414" v="158" actId="1076"/>
          <ac:spMkLst>
            <pc:docMk/>
            <pc:sldMk cId="1886290154" sldId="260"/>
            <ac:spMk id="28" creationId="{E390F807-1191-D226-867E-715DD03D2A87}"/>
          </ac:spMkLst>
        </pc:spChg>
        <pc:spChg chg="add mod">
          <ac:chgData name="Dimitri Militschenko" userId="2698819e-f51f-4938-ae1b-875ffc6b70b6" providerId="ADAL" clId="{A94DE860-344F-4223-82B3-A79F9E6FDCEA}" dt="2024-06-07T09:34:35.208" v="160" actId="1076"/>
          <ac:spMkLst>
            <pc:docMk/>
            <pc:sldMk cId="1886290154" sldId="260"/>
            <ac:spMk id="29" creationId="{00DF23DF-E811-962F-01FE-6A686203112C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30" creationId="{03B582E9-FDE3-4FDD-849B-1EA667694DBC}"/>
          </ac:spMkLst>
        </pc:spChg>
        <pc:spChg chg="add mod">
          <ac:chgData name="Dimitri Militschenko" userId="2698819e-f51f-4938-ae1b-875ffc6b70b6" providerId="ADAL" clId="{A94DE860-344F-4223-82B3-A79F9E6FDCEA}" dt="2024-06-07T09:34:43.395" v="162" actId="1076"/>
          <ac:spMkLst>
            <pc:docMk/>
            <pc:sldMk cId="1886290154" sldId="260"/>
            <ac:spMk id="31" creationId="{B444B409-8B12-CCAF-DC90-FE0FA72B5BA1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32" creationId="{9E25B8AD-F507-4E31-9DF6-2F7A478F068D}"/>
          </ac:spMkLst>
        </pc:spChg>
        <pc:spChg chg="add mod">
          <ac:chgData name="Dimitri Militschenko" userId="2698819e-f51f-4938-ae1b-875ffc6b70b6" providerId="ADAL" clId="{A94DE860-344F-4223-82B3-A79F9E6FDCEA}" dt="2024-06-07T09:34:46.997" v="163"/>
          <ac:spMkLst>
            <pc:docMk/>
            <pc:sldMk cId="1886290154" sldId="260"/>
            <ac:spMk id="33" creationId="{D675C9F9-9C1E-80AE-63A7-21BCBC16BCE3}"/>
          </ac:spMkLst>
        </pc:spChg>
        <pc:spChg chg="add mod">
          <ac:chgData name="Dimitri Militschenko" userId="2698819e-f51f-4938-ae1b-875ffc6b70b6" providerId="ADAL" clId="{A94DE860-344F-4223-82B3-A79F9E6FDCEA}" dt="2024-06-07T09:38:08.933" v="197" actId="1076"/>
          <ac:spMkLst>
            <pc:docMk/>
            <pc:sldMk cId="1886290154" sldId="260"/>
            <ac:spMk id="34" creationId="{96860EE5-2006-4A84-1C47-48C44AE0B575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38" creationId="{B7B4D921-2183-4BED-9657-452AA0DFAA60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39" creationId="{166FACCC-07EB-4F83-9A4C-B0A703841347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40" creationId="{ED494EC8-0FBC-46AD-BCB6-AFE8A955C729}"/>
          </ac:spMkLst>
        </pc:spChg>
        <pc:spChg chg="del">
          <ac:chgData name="Dimitri Militschenko" userId="2698819e-f51f-4938-ae1b-875ffc6b70b6" providerId="ADAL" clId="{A94DE860-344F-4223-82B3-A79F9E6FDCEA}" dt="2024-06-07T09:31:43.131" v="135" actId="478"/>
          <ac:spMkLst>
            <pc:docMk/>
            <pc:sldMk cId="1886290154" sldId="260"/>
            <ac:spMk id="41" creationId="{3F83A9FC-DF2D-4D23-93CB-6CA04A6ADA28}"/>
          </ac:spMkLst>
        </pc:spChg>
        <pc:spChg chg="del">
          <ac:chgData name="Dimitri Militschenko" userId="2698819e-f51f-4938-ae1b-875ffc6b70b6" providerId="ADAL" clId="{A94DE860-344F-4223-82B3-A79F9E6FDCEA}" dt="2024-06-07T09:31:41.368" v="134" actId="478"/>
          <ac:spMkLst>
            <pc:docMk/>
            <pc:sldMk cId="1886290154" sldId="260"/>
            <ac:spMk id="42" creationId="{D3089898-E62F-4125-A023-B9805F69DA5A}"/>
          </ac:spMkLst>
        </pc:spChg>
        <pc:spChg chg="del">
          <ac:chgData name="Dimitri Militschenko" userId="2698819e-f51f-4938-ae1b-875ffc6b70b6" providerId="ADAL" clId="{A94DE860-344F-4223-82B3-A79F9E6FDCEA}" dt="2024-06-07T09:31:44.586" v="136" actId="478"/>
          <ac:spMkLst>
            <pc:docMk/>
            <pc:sldMk cId="1886290154" sldId="260"/>
            <ac:spMk id="43" creationId="{9292B92A-4C0F-44A0-B5DE-31FAF79B6EE5}"/>
          </ac:spMkLst>
        </pc:spChg>
        <pc:spChg chg="add del">
          <ac:chgData name="Dimitri Militschenko" userId="2698819e-f51f-4938-ae1b-875ffc6b70b6" providerId="ADAL" clId="{A94DE860-344F-4223-82B3-A79F9E6FDCEA}" dt="2024-06-07T09:29:09.374" v="100" actId="478"/>
          <ac:spMkLst>
            <pc:docMk/>
            <pc:sldMk cId="1886290154" sldId="260"/>
            <ac:spMk id="44" creationId="{F9271F09-4292-4BD7-B094-CB404D4B7CAE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45" creationId="{EA7DE4DF-0FC4-4F5E-ADF4-2D8690A4A94D}"/>
          </ac:spMkLst>
        </pc:spChg>
        <pc:spChg chg="add del">
          <ac:chgData name="Dimitri Militschenko" userId="2698819e-f51f-4938-ae1b-875ffc6b70b6" providerId="ADAL" clId="{A94DE860-344F-4223-82B3-A79F9E6FDCEA}" dt="2024-06-07T09:29:07.409" v="99" actId="478"/>
          <ac:spMkLst>
            <pc:docMk/>
            <pc:sldMk cId="1886290154" sldId="260"/>
            <ac:spMk id="46" creationId="{2C7E8629-CD56-4427-A980-AAF2CF67F16E}"/>
          </ac:spMkLst>
        </pc:spChg>
        <pc:spChg chg="add del">
          <ac:chgData name="Dimitri Militschenko" userId="2698819e-f51f-4938-ae1b-875ffc6b70b6" providerId="ADAL" clId="{A94DE860-344F-4223-82B3-A79F9E6FDCEA}" dt="2024-06-07T09:29:09.374" v="100" actId="478"/>
          <ac:spMkLst>
            <pc:docMk/>
            <pc:sldMk cId="1886290154" sldId="260"/>
            <ac:spMk id="47" creationId="{BA787FBC-8B4A-4B6D-8B47-8C8B40F989F0}"/>
          </ac:spMkLst>
        </pc:spChg>
        <pc:picChg chg="add del mod modCrop">
          <ac:chgData name="Dimitri Militschenko" userId="2698819e-f51f-4938-ae1b-875ffc6b70b6" providerId="ADAL" clId="{A94DE860-344F-4223-82B3-A79F9E6FDCEA}" dt="2024-06-07T09:34:15.210" v="156" actId="1076"/>
          <ac:picMkLst>
            <pc:docMk/>
            <pc:sldMk cId="1886290154" sldId="260"/>
            <ac:picMk id="6" creationId="{EAC58450-8C7C-46FE-B3A1-2AF946881B83}"/>
          </ac:picMkLst>
        </pc:picChg>
        <pc:picChg chg="add mod">
          <ac:chgData name="Dimitri Militschenko" userId="2698819e-f51f-4938-ae1b-875ffc6b70b6" providerId="ADAL" clId="{A94DE860-344F-4223-82B3-A79F9E6FDCEA}" dt="2024-06-07T09:31:58.663" v="141" actId="14826"/>
          <ac:picMkLst>
            <pc:docMk/>
            <pc:sldMk cId="1886290154" sldId="260"/>
            <ac:picMk id="25" creationId="{E2768AAC-F2FE-B7FA-7314-71EF2A73C612}"/>
          </ac:picMkLst>
        </pc:picChg>
      </pc:sldChg>
      <pc:sldChg chg="addSp delSp modSp mod">
        <pc:chgData name="Dimitri Militschenko" userId="2698819e-f51f-4938-ae1b-875ffc6b70b6" providerId="ADAL" clId="{A94DE860-344F-4223-82B3-A79F9E6FDCEA}" dt="2024-06-07T09:45:58.396" v="1158"/>
        <pc:sldMkLst>
          <pc:docMk/>
          <pc:sldMk cId="2389000172" sldId="266"/>
        </pc:sldMkLst>
        <pc:spChg chg="mod">
          <ac:chgData name="Dimitri Militschenko" userId="2698819e-f51f-4938-ae1b-875ffc6b70b6" providerId="ADAL" clId="{A94DE860-344F-4223-82B3-A79F9E6FDCEA}" dt="2024-06-07T09:45:58.366" v="1119" actId="948"/>
          <ac:spMkLst>
            <pc:docMk/>
            <pc:sldMk cId="2389000172" sldId="266"/>
            <ac:spMk id="3" creationId="{843EC4F4-91B5-492D-B43E-B1C2126FDC8B}"/>
          </ac:spMkLst>
        </pc:spChg>
        <pc:spChg chg="mod">
          <ac:chgData name="Dimitri Militschenko" userId="2698819e-f51f-4938-ae1b-875ffc6b70b6" providerId="ADAL" clId="{A94DE860-344F-4223-82B3-A79F9E6FDCEA}" dt="2024-06-07T09:40:17.639" v="201" actId="2711"/>
          <ac:spMkLst>
            <pc:docMk/>
            <pc:sldMk cId="2389000172" sldId="266"/>
            <ac:spMk id="5" creationId="{55DAFE5B-36C1-4E8E-86EE-BBE9C83A89C1}"/>
          </ac:spMkLst>
        </pc:spChg>
        <pc:spChg chg="add mod">
          <ac:chgData name="Dimitri Militschenko" userId="2698819e-f51f-4938-ae1b-875ffc6b70b6" providerId="ADAL" clId="{A94DE860-344F-4223-82B3-A79F9E6FDCEA}" dt="2024-06-07T09:41:34.529" v="210" actId="207"/>
          <ac:spMkLst>
            <pc:docMk/>
            <pc:sldMk cId="2389000172" sldId="266"/>
            <ac:spMk id="6" creationId="{4A4F3390-86F9-4571-A728-0423B43590C8}"/>
          </ac:spMkLst>
        </pc:spChg>
        <pc:spChg chg="add del mod modVis">
          <ac:chgData name="Dimitri Militschenko" userId="2698819e-f51f-4938-ae1b-875ffc6b70b6" providerId="ADAL" clId="{A94DE860-344F-4223-82B3-A79F9E6FDCEA}" dt="2024-06-07T09:42:35.496" v="251"/>
          <ac:spMkLst>
            <pc:docMk/>
            <pc:sldMk cId="2389000172" sldId="266"/>
            <ac:spMk id="8" creationId="{87A7DC69-7EB8-DB42-21AC-EC8D42788761}"/>
          </ac:spMkLst>
        </pc:spChg>
        <pc:spChg chg="add del mod modVis">
          <ac:chgData name="Dimitri Militschenko" userId="2698819e-f51f-4938-ae1b-875ffc6b70b6" providerId="ADAL" clId="{A94DE860-344F-4223-82B3-A79F9E6FDCEA}" dt="2024-06-07T09:42:48.235" v="294"/>
          <ac:spMkLst>
            <pc:docMk/>
            <pc:sldMk cId="2389000172" sldId="266"/>
            <ac:spMk id="9" creationId="{F9B3F257-FA1A-8148-20F5-4FFE28A3278D}"/>
          </ac:spMkLst>
        </pc:spChg>
        <pc:spChg chg="add del mod modVis">
          <ac:chgData name="Dimitri Militschenko" userId="2698819e-f51f-4938-ae1b-875ffc6b70b6" providerId="ADAL" clId="{A94DE860-344F-4223-82B3-A79F9E6FDCEA}" dt="2024-06-07T09:42:51.588" v="344"/>
          <ac:spMkLst>
            <pc:docMk/>
            <pc:sldMk cId="2389000172" sldId="266"/>
            <ac:spMk id="10" creationId="{D198EE87-4ACB-F500-3CDF-FAA0D0402187}"/>
          </ac:spMkLst>
        </pc:spChg>
        <pc:spChg chg="add del mod modVis">
          <ac:chgData name="Dimitri Militschenko" userId="2698819e-f51f-4938-ae1b-875ffc6b70b6" providerId="ADAL" clId="{A94DE860-344F-4223-82B3-A79F9E6FDCEA}" dt="2024-06-07T09:42:52.247" v="386"/>
          <ac:spMkLst>
            <pc:docMk/>
            <pc:sldMk cId="2389000172" sldId="266"/>
            <ac:spMk id="11" creationId="{E985BDAB-6CA0-5643-640A-3B01468FA28F}"/>
          </ac:spMkLst>
        </pc:spChg>
        <pc:spChg chg="add del mod modVis">
          <ac:chgData name="Dimitri Militschenko" userId="2698819e-f51f-4938-ae1b-875ffc6b70b6" providerId="ADAL" clId="{A94DE860-344F-4223-82B3-A79F9E6FDCEA}" dt="2024-06-07T09:42:53.037" v="429"/>
          <ac:spMkLst>
            <pc:docMk/>
            <pc:sldMk cId="2389000172" sldId="266"/>
            <ac:spMk id="12" creationId="{95B3EAF1-2CF7-2978-EAC1-40645516ACBF}"/>
          </ac:spMkLst>
        </pc:spChg>
        <pc:spChg chg="add del mod modVis">
          <ac:chgData name="Dimitri Militschenko" userId="2698819e-f51f-4938-ae1b-875ffc6b70b6" providerId="ADAL" clId="{A94DE860-344F-4223-82B3-A79F9E6FDCEA}" dt="2024-06-07T09:43:49.345" v="471"/>
          <ac:spMkLst>
            <pc:docMk/>
            <pc:sldMk cId="2389000172" sldId="266"/>
            <ac:spMk id="13" creationId="{1870004C-256A-085D-0834-2EC8E4E68252}"/>
          </ac:spMkLst>
        </pc:spChg>
        <pc:spChg chg="add del mod modVis">
          <ac:chgData name="Dimitri Militschenko" userId="2698819e-f51f-4938-ae1b-875ffc6b70b6" providerId="ADAL" clId="{A94DE860-344F-4223-82B3-A79F9E6FDCEA}" dt="2024-06-07T09:43:54.363" v="540"/>
          <ac:spMkLst>
            <pc:docMk/>
            <pc:sldMk cId="2389000172" sldId="266"/>
            <ac:spMk id="14" creationId="{3E16F474-B8C4-864A-3187-15FCDF707602}"/>
          </ac:spMkLst>
        </pc:spChg>
        <pc:spChg chg="add del mod modVis">
          <ac:chgData name="Dimitri Militschenko" userId="2698819e-f51f-4938-ae1b-875ffc6b70b6" providerId="ADAL" clId="{A94DE860-344F-4223-82B3-A79F9E6FDCEA}" dt="2024-06-07T09:43:55.416" v="581"/>
          <ac:spMkLst>
            <pc:docMk/>
            <pc:sldMk cId="2389000172" sldId="266"/>
            <ac:spMk id="15" creationId="{F54304D4-DE95-ABE4-03B2-4E255814AE47}"/>
          </ac:spMkLst>
        </pc:spChg>
        <pc:spChg chg="add del mod modVis">
          <ac:chgData name="Dimitri Militschenko" userId="2698819e-f51f-4938-ae1b-875ffc6b70b6" providerId="ADAL" clId="{A94DE860-344F-4223-82B3-A79F9E6FDCEA}" dt="2024-06-07T09:43:56.016" v="623"/>
          <ac:spMkLst>
            <pc:docMk/>
            <pc:sldMk cId="2389000172" sldId="266"/>
            <ac:spMk id="16" creationId="{744FA130-57E1-07C1-E6D3-B0CA1BAE290D}"/>
          </ac:spMkLst>
        </pc:spChg>
        <pc:spChg chg="add del mod modVis">
          <ac:chgData name="Dimitri Militschenko" userId="2698819e-f51f-4938-ae1b-875ffc6b70b6" providerId="ADAL" clId="{A94DE860-344F-4223-82B3-A79F9E6FDCEA}" dt="2024-06-07T09:43:57.004" v="666"/>
          <ac:spMkLst>
            <pc:docMk/>
            <pc:sldMk cId="2389000172" sldId="266"/>
            <ac:spMk id="17" creationId="{66DD9856-4E1C-D999-149C-E4F792BC4A3F}"/>
          </ac:spMkLst>
        </pc:spChg>
        <pc:spChg chg="add del mod modVis">
          <ac:chgData name="Dimitri Militschenko" userId="2698819e-f51f-4938-ae1b-875ffc6b70b6" providerId="ADAL" clId="{A94DE860-344F-4223-82B3-A79F9E6FDCEA}" dt="2024-06-07T09:43:57.719" v="708"/>
          <ac:spMkLst>
            <pc:docMk/>
            <pc:sldMk cId="2389000172" sldId="266"/>
            <ac:spMk id="18" creationId="{44AF77A9-119A-2DDE-213D-C26549912036}"/>
          </ac:spMkLst>
        </pc:spChg>
        <pc:spChg chg="add del mod modVis">
          <ac:chgData name="Dimitri Militschenko" userId="2698819e-f51f-4938-ae1b-875ffc6b70b6" providerId="ADAL" clId="{A94DE860-344F-4223-82B3-A79F9E6FDCEA}" dt="2024-06-07T09:43:58.676" v="751"/>
          <ac:spMkLst>
            <pc:docMk/>
            <pc:sldMk cId="2389000172" sldId="266"/>
            <ac:spMk id="19" creationId="{BC82EAED-B6E8-62D2-BE7D-2430FEC06665}"/>
          </ac:spMkLst>
        </pc:spChg>
        <pc:spChg chg="add del mod modVis">
          <ac:chgData name="Dimitri Militschenko" userId="2698819e-f51f-4938-ae1b-875ffc6b70b6" providerId="ADAL" clId="{A94DE860-344F-4223-82B3-A79F9E6FDCEA}" dt="2024-06-07T09:44:00.435" v="778"/>
          <ac:spMkLst>
            <pc:docMk/>
            <pc:sldMk cId="2389000172" sldId="266"/>
            <ac:spMk id="20" creationId="{EDFEE3A0-F97A-0C5C-4AF8-B9F6D90625A7}"/>
          </ac:spMkLst>
        </pc:spChg>
        <pc:spChg chg="add del mod modVis">
          <ac:chgData name="Dimitri Militschenko" userId="2698819e-f51f-4938-ae1b-875ffc6b70b6" providerId="ADAL" clId="{A94DE860-344F-4223-82B3-A79F9E6FDCEA}" dt="2024-06-07T09:44:29.771" v="805"/>
          <ac:spMkLst>
            <pc:docMk/>
            <pc:sldMk cId="2389000172" sldId="266"/>
            <ac:spMk id="21" creationId="{5184484B-7E4B-A7E0-9C76-2D13646CEFF2}"/>
          </ac:spMkLst>
        </pc:spChg>
        <pc:spChg chg="add del mod modVis">
          <ac:chgData name="Dimitri Militschenko" userId="2698819e-f51f-4938-ae1b-875ffc6b70b6" providerId="ADAL" clId="{A94DE860-344F-4223-82B3-A79F9E6FDCEA}" dt="2024-06-07T09:44:43.298" v="832"/>
          <ac:spMkLst>
            <pc:docMk/>
            <pc:sldMk cId="2389000172" sldId="266"/>
            <ac:spMk id="22" creationId="{FF42834A-0B39-F53F-F35D-D5B6C153DD08}"/>
          </ac:spMkLst>
        </pc:spChg>
        <pc:spChg chg="add del mod modVis">
          <ac:chgData name="Dimitri Militschenko" userId="2698819e-f51f-4938-ae1b-875ffc6b70b6" providerId="ADAL" clId="{A94DE860-344F-4223-82B3-A79F9E6FDCEA}" dt="2024-06-07T09:44:44.366" v="861"/>
          <ac:spMkLst>
            <pc:docMk/>
            <pc:sldMk cId="2389000172" sldId="266"/>
            <ac:spMk id="23" creationId="{C3EF582C-E4CC-B732-D154-8C4538FAF269}"/>
          </ac:spMkLst>
        </pc:spChg>
        <pc:spChg chg="add del mod modVis">
          <ac:chgData name="Dimitri Militschenko" userId="2698819e-f51f-4938-ae1b-875ffc6b70b6" providerId="ADAL" clId="{A94DE860-344F-4223-82B3-A79F9E6FDCEA}" dt="2024-06-07T09:44:48.271" v="888"/>
          <ac:spMkLst>
            <pc:docMk/>
            <pc:sldMk cId="2389000172" sldId="266"/>
            <ac:spMk id="24" creationId="{479755FF-2CFF-3E3E-5FE9-231CA9FF9894}"/>
          </ac:spMkLst>
        </pc:spChg>
        <pc:spChg chg="add del mod modVis">
          <ac:chgData name="Dimitri Militschenko" userId="2698819e-f51f-4938-ae1b-875ffc6b70b6" providerId="ADAL" clId="{A94DE860-344F-4223-82B3-A79F9E6FDCEA}" dt="2024-06-07T09:45:10.681" v="915"/>
          <ac:spMkLst>
            <pc:docMk/>
            <pc:sldMk cId="2389000172" sldId="266"/>
            <ac:spMk id="25" creationId="{E398F3B8-0D8B-D95D-1DE4-C74240FE93B1}"/>
          </ac:spMkLst>
        </pc:spChg>
        <pc:spChg chg="add del mod modVis">
          <ac:chgData name="Dimitri Militschenko" userId="2698819e-f51f-4938-ae1b-875ffc6b70b6" providerId="ADAL" clId="{A94DE860-344F-4223-82B3-A79F9E6FDCEA}" dt="2024-06-07T09:45:21.610" v="956"/>
          <ac:spMkLst>
            <pc:docMk/>
            <pc:sldMk cId="2389000172" sldId="266"/>
            <ac:spMk id="26" creationId="{32542399-05D4-A2F8-5E5F-DA4E049D2F15}"/>
          </ac:spMkLst>
        </pc:spChg>
        <pc:spChg chg="add del mod modVis">
          <ac:chgData name="Dimitri Militschenko" userId="2698819e-f51f-4938-ae1b-875ffc6b70b6" providerId="ADAL" clId="{A94DE860-344F-4223-82B3-A79F9E6FDCEA}" dt="2024-06-07T09:45:30.159" v="997"/>
          <ac:spMkLst>
            <pc:docMk/>
            <pc:sldMk cId="2389000172" sldId="266"/>
            <ac:spMk id="27" creationId="{32412574-7751-0008-4B88-7EDAD19177B2}"/>
          </ac:spMkLst>
        </pc:spChg>
        <pc:spChg chg="add del mod modVis">
          <ac:chgData name="Dimitri Militschenko" userId="2698819e-f51f-4938-ae1b-875ffc6b70b6" providerId="ADAL" clId="{A94DE860-344F-4223-82B3-A79F9E6FDCEA}" dt="2024-06-07T09:45:54.810" v="1115"/>
          <ac:spMkLst>
            <pc:docMk/>
            <pc:sldMk cId="2389000172" sldId="266"/>
            <ac:spMk id="28" creationId="{B739418E-185C-8A9D-CB5E-3D54BC3A64B7}"/>
          </ac:spMkLst>
        </pc:spChg>
        <pc:spChg chg="add del mod modVis">
          <ac:chgData name="Dimitri Militschenko" userId="2698819e-f51f-4938-ae1b-875ffc6b70b6" providerId="ADAL" clId="{A94DE860-344F-4223-82B3-A79F9E6FDCEA}" dt="2024-06-07T09:45:58.395" v="1156"/>
          <ac:spMkLst>
            <pc:docMk/>
            <pc:sldMk cId="2389000172" sldId="266"/>
            <ac:spMk id="29" creationId="{9FEE3DEF-ABF3-B372-906E-702067519DBF}"/>
          </ac:spMkLst>
        </pc:spChg>
        <pc:graphicFrameChg chg="mod">
          <ac:chgData name="Dimitri Militschenko" userId="2698819e-f51f-4938-ae1b-875ffc6b70b6" providerId="ADAL" clId="{A94DE860-344F-4223-82B3-A79F9E6FDCEA}" dt="2024-06-07T09:45:58.396" v="1158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addSp delSp modSp mod">
        <pc:chgData name="Dimitri Militschenko" userId="2698819e-f51f-4938-ae1b-875ffc6b70b6" providerId="ADAL" clId="{A94DE860-344F-4223-82B3-A79F9E6FDCEA}" dt="2024-06-07T09:27:48.783" v="94" actId="20577"/>
        <pc:sldMkLst>
          <pc:docMk/>
          <pc:sldMk cId="1325671312" sldId="267"/>
        </pc:sldMkLst>
        <pc:spChg chg="mod">
          <ac:chgData name="Dimitri Militschenko" userId="2698819e-f51f-4938-ae1b-875ffc6b70b6" providerId="ADAL" clId="{A94DE860-344F-4223-82B3-A79F9E6FDCEA}" dt="2024-06-07T09:27:48.783" v="94" actId="20577"/>
          <ac:spMkLst>
            <pc:docMk/>
            <pc:sldMk cId="1325671312" sldId="267"/>
            <ac:spMk id="3" creationId="{33ADE9D8-D38A-4351-88F3-E78D2F95414B}"/>
          </ac:spMkLst>
        </pc:spChg>
        <pc:spChg chg="add mod">
          <ac:chgData name="Dimitri Militschenko" userId="2698819e-f51f-4938-ae1b-875ffc6b70b6" providerId="ADAL" clId="{A94DE860-344F-4223-82B3-A79F9E6FDCEA}" dt="2024-06-07T09:25:06.397" v="64" actId="1076"/>
          <ac:spMkLst>
            <pc:docMk/>
            <pc:sldMk cId="1325671312" sldId="267"/>
            <ac:spMk id="6" creationId="{C31631B2-F8DC-7EFA-08D8-245B3EE4F6DB}"/>
          </ac:spMkLst>
        </pc:spChg>
        <pc:spChg chg="add mod">
          <ac:chgData name="Dimitri Militschenko" userId="2698819e-f51f-4938-ae1b-875ffc6b70b6" providerId="ADAL" clId="{A94DE860-344F-4223-82B3-A79F9E6FDCEA}" dt="2024-06-07T09:25:09.474" v="65" actId="1076"/>
          <ac:spMkLst>
            <pc:docMk/>
            <pc:sldMk cId="1325671312" sldId="267"/>
            <ac:spMk id="7" creationId="{EC5F9065-CCB0-9104-73AD-9A4507738784}"/>
          </ac:spMkLst>
        </pc:spChg>
        <pc:spChg chg="add mod">
          <ac:chgData name="Dimitri Militschenko" userId="2698819e-f51f-4938-ae1b-875ffc6b70b6" providerId="ADAL" clId="{A94DE860-344F-4223-82B3-A79F9E6FDCEA}" dt="2024-06-07T09:26:11.177" v="92" actId="20577"/>
          <ac:spMkLst>
            <pc:docMk/>
            <pc:sldMk cId="1325671312" sldId="267"/>
            <ac:spMk id="8" creationId="{84548F16-460D-BEB8-3E19-04E6358EECA5}"/>
          </ac:spMkLst>
        </pc:spChg>
        <pc:spChg chg="add del">
          <ac:chgData name="Dimitri Militschenko" userId="2698819e-f51f-4938-ae1b-875ffc6b70b6" providerId="ADAL" clId="{A94DE860-344F-4223-82B3-A79F9E6FDCEA}" dt="2024-06-07T09:23:54.501" v="62" actId="478"/>
          <ac:spMkLst>
            <pc:docMk/>
            <pc:sldMk cId="1325671312" sldId="267"/>
            <ac:spMk id="11" creationId="{B8906F85-7AA7-487C-A5AD-6406A0AD16C9}"/>
          </ac:spMkLst>
        </pc:spChg>
        <pc:spChg chg="del">
          <ac:chgData name="Dimitri Militschenko" userId="2698819e-f51f-4938-ae1b-875ffc6b70b6" providerId="ADAL" clId="{A94DE860-344F-4223-82B3-A79F9E6FDCEA}" dt="2024-06-07T09:23:15.901" v="56" actId="478"/>
          <ac:spMkLst>
            <pc:docMk/>
            <pc:sldMk cId="1325671312" sldId="267"/>
            <ac:spMk id="14" creationId="{439B9EB0-C7C6-46EF-8E37-937E69B3C38F}"/>
          </ac:spMkLst>
        </pc:spChg>
        <pc:spChg chg="del">
          <ac:chgData name="Dimitri Militschenko" userId="2698819e-f51f-4938-ae1b-875ffc6b70b6" providerId="ADAL" clId="{A94DE860-344F-4223-82B3-A79F9E6FDCEA}" dt="2024-06-07T09:23:16.560" v="57" actId="478"/>
          <ac:spMkLst>
            <pc:docMk/>
            <pc:sldMk cId="1325671312" sldId="267"/>
            <ac:spMk id="15" creationId="{419A9726-E01F-4E63-9F04-1A58951949DB}"/>
          </ac:spMkLst>
        </pc:spChg>
        <pc:picChg chg="add mod">
          <ac:chgData name="Dimitri Militschenko" userId="2698819e-f51f-4938-ae1b-875ffc6b70b6" providerId="ADAL" clId="{A94DE860-344F-4223-82B3-A79F9E6FDCEA}" dt="2024-06-07T09:23:31.602" v="59" actId="14826"/>
          <ac:picMkLst>
            <pc:docMk/>
            <pc:sldMk cId="1325671312" sldId="267"/>
            <ac:picMk id="4" creationId="{B6333D01-8EC6-B26B-72EC-1CD93FC46B3E}"/>
          </ac:picMkLst>
        </pc:picChg>
        <pc:picChg chg="del">
          <ac:chgData name="Dimitri Militschenko" userId="2698819e-f51f-4938-ae1b-875ffc6b70b6" providerId="ADAL" clId="{A94DE860-344F-4223-82B3-A79F9E6FDCEA}" dt="2024-06-07T09:23:14.635" v="55" actId="478"/>
          <ac:picMkLst>
            <pc:docMk/>
            <pc:sldMk cId="1325671312" sldId="267"/>
            <ac:picMk id="13" creationId="{1119C5B3-039B-4073-BBA6-C6D39D360CC7}"/>
          </ac:picMkLst>
        </pc:picChg>
      </pc:sldChg>
      <pc:sldChg chg="addSp delSp modSp mod">
        <pc:chgData name="Dimitri Militschenko" userId="2698819e-f51f-4938-ae1b-875ffc6b70b6" providerId="ADAL" clId="{A94DE860-344F-4223-82B3-A79F9E6FDCEA}" dt="2024-06-07T09:22:53.884" v="53" actId="20577"/>
        <pc:sldMkLst>
          <pc:docMk/>
          <pc:sldMk cId="3857656806" sldId="268"/>
        </pc:sldMkLst>
        <pc:spChg chg="add mod">
          <ac:chgData name="Dimitri Militschenko" userId="2698819e-f51f-4938-ae1b-875ffc6b70b6" providerId="ADAL" clId="{A94DE860-344F-4223-82B3-A79F9E6FDCEA}" dt="2024-06-07T09:22:31.043" v="51"/>
          <ac:spMkLst>
            <pc:docMk/>
            <pc:sldMk cId="3857656806" sldId="268"/>
            <ac:spMk id="6" creationId="{1F70EACA-5B11-2010-4370-22A09745DB52}"/>
          </ac:spMkLst>
        </pc:spChg>
        <pc:spChg chg="mod">
          <ac:chgData name="Dimitri Militschenko" userId="2698819e-f51f-4938-ae1b-875ffc6b70b6" providerId="ADAL" clId="{A94DE860-344F-4223-82B3-A79F9E6FDCEA}" dt="2024-06-07T09:22:53.884" v="53" actId="20577"/>
          <ac:spMkLst>
            <pc:docMk/>
            <pc:sldMk cId="3857656806" sldId="268"/>
            <ac:spMk id="7" creationId="{5415EFE7-4743-4F5B-9F97-0B72861A9A0E}"/>
          </ac:spMkLst>
        </pc:spChg>
        <pc:spChg chg="del">
          <ac:chgData name="Dimitri Militschenko" userId="2698819e-f51f-4938-ae1b-875ffc6b70b6" providerId="ADAL" clId="{A94DE860-344F-4223-82B3-A79F9E6FDCEA}" dt="2024-06-07T09:20:58.469" v="36" actId="478"/>
          <ac:spMkLst>
            <pc:docMk/>
            <pc:sldMk cId="3857656806" sldId="268"/>
            <ac:spMk id="10" creationId="{9BBE5E74-5475-4048-BF58-03F172EBAB7D}"/>
          </ac:spMkLst>
        </pc:spChg>
        <pc:picChg chg="add mod">
          <ac:chgData name="Dimitri Militschenko" userId="2698819e-f51f-4938-ae1b-875ffc6b70b6" providerId="ADAL" clId="{A94DE860-344F-4223-82B3-A79F9E6FDCEA}" dt="2024-06-07T09:21:13.571" v="38" actId="14826"/>
          <ac:picMkLst>
            <pc:docMk/>
            <pc:sldMk cId="3857656806" sldId="268"/>
            <ac:picMk id="3" creationId="{020AB622-FE5F-187A-D00A-1E6D95B49324}"/>
          </ac:picMkLst>
        </pc:picChg>
        <pc:picChg chg="add mod">
          <ac:chgData name="Dimitri Militschenko" userId="2698819e-f51f-4938-ae1b-875ffc6b70b6" providerId="ADAL" clId="{A94DE860-344F-4223-82B3-A79F9E6FDCEA}" dt="2024-06-07T09:22:21.746" v="50" actId="1076"/>
          <ac:picMkLst>
            <pc:docMk/>
            <pc:sldMk cId="3857656806" sldId="268"/>
            <ac:picMk id="5" creationId="{115CE0F5-8AEC-857E-76ED-14C8CC717408}"/>
          </ac:picMkLst>
        </pc:picChg>
        <pc:picChg chg="del">
          <ac:chgData name="Dimitri Militschenko" userId="2698819e-f51f-4938-ae1b-875ffc6b70b6" providerId="ADAL" clId="{A94DE860-344F-4223-82B3-A79F9E6FDCEA}" dt="2024-06-07T09:20:57.549" v="35" actId="478"/>
          <ac:picMkLst>
            <pc:docMk/>
            <pc:sldMk cId="3857656806" sldId="268"/>
            <ac:picMk id="9" creationId="{37565AEF-3A9E-4D1E-B726-4A0ECC771C18}"/>
          </ac:picMkLst>
        </pc:picChg>
      </pc:sldChg>
      <pc:sldChg chg="addSp delSp modSp mod">
        <pc:chgData name="Dimitri Militschenko" userId="2698819e-f51f-4938-ae1b-875ffc6b70b6" providerId="ADAL" clId="{A94DE860-344F-4223-82B3-A79F9E6FDCEA}" dt="2024-06-07T09:48:33.919" v="1163" actId="1037"/>
        <pc:sldMkLst>
          <pc:docMk/>
          <pc:sldMk cId="1595703888" sldId="2147474933"/>
        </pc:sldMkLst>
        <pc:spChg chg="add mod">
          <ac:chgData name="Dimitri Militschenko" userId="2698819e-f51f-4938-ae1b-875ffc6b70b6" providerId="ADAL" clId="{A94DE860-344F-4223-82B3-A79F9E6FDCEA}" dt="2024-06-07T09:20:16.883" v="33"/>
          <ac:spMkLst>
            <pc:docMk/>
            <pc:sldMk cId="1595703888" sldId="2147474933"/>
            <ac:spMk id="3" creationId="{154ADF3A-35C3-D6FB-7986-87895B8525F8}"/>
          </ac:spMkLst>
        </pc:spChg>
        <pc:spChg chg="mod">
          <ac:chgData name="Dimitri Militschenko" userId="2698819e-f51f-4938-ae1b-875ffc6b70b6" providerId="ADAL" clId="{A94DE860-344F-4223-82B3-A79F9E6FDCEA}" dt="2024-06-07T09:13:50.160" v="29" actId="20577"/>
          <ac:spMkLst>
            <pc:docMk/>
            <pc:sldMk cId="1595703888" sldId="2147474933"/>
            <ac:spMk id="6" creationId="{723E1BD3-552E-49A5-B2A6-1038DF60EC3B}"/>
          </ac:spMkLst>
        </pc:spChg>
        <pc:spChg chg="add mod">
          <ac:chgData name="Dimitri Militschenko" userId="2698819e-f51f-4938-ae1b-875ffc6b70b6" providerId="ADAL" clId="{A94DE860-344F-4223-82B3-A79F9E6FDCEA}" dt="2024-06-07T09:48:33.919" v="1163" actId="1037"/>
          <ac:spMkLst>
            <pc:docMk/>
            <pc:sldMk cId="1595703888" sldId="2147474933"/>
            <ac:spMk id="7" creationId="{BDCCFC52-8BC8-8AFA-6AD0-B4C1C7E69243}"/>
          </ac:spMkLst>
        </pc:spChg>
        <pc:spChg chg="add mod">
          <ac:chgData name="Dimitri Militschenko" userId="2698819e-f51f-4938-ae1b-875ffc6b70b6" providerId="ADAL" clId="{A94DE860-344F-4223-82B3-A79F9E6FDCEA}" dt="2024-06-07T09:48:33.919" v="1163" actId="1037"/>
          <ac:spMkLst>
            <pc:docMk/>
            <pc:sldMk cId="1595703888" sldId="2147474933"/>
            <ac:spMk id="10" creationId="{BCCF9FF5-2173-DA62-D413-7B5D535E965A}"/>
          </ac:spMkLst>
        </pc:spChg>
        <pc:spChg chg="del">
          <ac:chgData name="Dimitri Militschenko" userId="2698819e-f51f-4938-ae1b-875ffc6b70b6" providerId="ADAL" clId="{A94DE860-344F-4223-82B3-A79F9E6FDCEA}" dt="2024-06-07T09:20:15.333" v="31" actId="478"/>
          <ac:spMkLst>
            <pc:docMk/>
            <pc:sldMk cId="1595703888" sldId="2147474933"/>
            <ac:spMk id="97" creationId="{9E4F75E8-8225-4FA1-8EA8-1512A38292F4}"/>
          </ac:spMkLst>
        </pc:spChg>
        <pc:spChg chg="del">
          <ac:chgData name="Dimitri Militschenko" userId="2698819e-f51f-4938-ae1b-875ffc6b70b6" providerId="ADAL" clId="{A94DE860-344F-4223-82B3-A79F9E6FDCEA}" dt="2024-06-07T09:20:15.977" v="32" actId="478"/>
          <ac:spMkLst>
            <pc:docMk/>
            <pc:sldMk cId="1595703888" sldId="2147474933"/>
            <ac:spMk id="98" creationId="{064C2B75-EBEA-4B3D-8FE8-6AD31D2A7F68}"/>
          </ac:spMkLst>
        </pc:spChg>
        <pc:picChg chg="add mod">
          <ac:chgData name="Dimitri Militschenko" userId="2698819e-f51f-4938-ae1b-875ffc6b70b6" providerId="ADAL" clId="{A94DE860-344F-4223-82B3-A79F9E6FDCEA}" dt="2024-06-07T09:20:16.883" v="33"/>
          <ac:picMkLst>
            <pc:docMk/>
            <pc:sldMk cId="1595703888" sldId="2147474933"/>
            <ac:picMk id="2" creationId="{5E3BE72B-5D43-DF6D-AAB1-ED225E93C73E}"/>
          </ac:picMkLst>
        </pc:picChg>
        <pc:picChg chg="add mod">
          <ac:chgData name="Dimitri Militschenko" userId="2698819e-f51f-4938-ae1b-875ffc6b70b6" providerId="ADAL" clId="{A94DE860-344F-4223-82B3-A79F9E6FDCEA}" dt="2024-06-07T09:20:16.883" v="33"/>
          <ac:picMkLst>
            <pc:docMk/>
            <pc:sldMk cId="1595703888" sldId="2147474933"/>
            <ac:picMk id="4" creationId="{B58E9454-7AD8-3DAC-CEF7-89C5C28ACEF0}"/>
          </ac:picMkLst>
        </pc:picChg>
        <pc:picChg chg="del">
          <ac:chgData name="Dimitri Militschenko" userId="2698819e-f51f-4938-ae1b-875ffc6b70b6" providerId="ADAL" clId="{A94DE860-344F-4223-82B3-A79F9E6FDCEA}" dt="2024-06-07T09:20:14.516" v="30" actId="478"/>
          <ac:picMkLst>
            <pc:docMk/>
            <pc:sldMk cId="1595703888" sldId="2147474933"/>
            <ac:picMk id="9" creationId="{EAD6C100-6BD1-4360-9C0A-DEBF96B0272F}"/>
          </ac:picMkLst>
        </pc:picChg>
      </pc:sldChg>
      <pc:sldChg chg="modSp mod">
        <pc:chgData name="Dimitri Militschenko" userId="2698819e-f51f-4938-ae1b-875ffc6b70b6" providerId="ADAL" clId="{A94DE860-344F-4223-82B3-A79F9E6FDCEA}" dt="2024-06-07T09:13:00.217" v="23" actId="20577"/>
        <pc:sldMkLst>
          <pc:docMk/>
          <pc:sldMk cId="40899146" sldId="2147474934"/>
        </pc:sldMkLst>
        <pc:spChg chg="mod">
          <ac:chgData name="Dimitri Militschenko" userId="2698819e-f51f-4938-ae1b-875ffc6b70b6" providerId="ADAL" clId="{A94DE860-344F-4223-82B3-A79F9E6FDCEA}" dt="2024-06-07T09:13:00.217" v="23" actId="20577"/>
          <ac:spMkLst>
            <pc:docMk/>
            <pc:sldMk cId="40899146" sldId="2147474934"/>
            <ac:spMk id="7" creationId="{590103BA-0763-4FFE-A610-DEFAD9577D1C}"/>
          </ac:spMkLst>
        </pc:spChg>
      </pc:sldChg>
      <pc:sldChg chg="modSp add del mod">
        <pc:chgData name="Dimitri Militschenko" userId="2698819e-f51f-4938-ae1b-875ffc6b70b6" providerId="ADAL" clId="{A94DE860-344F-4223-82B3-A79F9E6FDCEA}" dt="2024-06-07T09:23:09.224" v="54" actId="47"/>
        <pc:sldMkLst>
          <pc:docMk/>
          <pc:sldMk cId="85902379" sldId="2147474936"/>
        </pc:sldMkLst>
        <pc:picChg chg="mod modCrop">
          <ac:chgData name="Dimitri Militschenko" userId="2698819e-f51f-4938-ae1b-875ffc6b70b6" providerId="ADAL" clId="{A94DE860-344F-4223-82B3-A79F9E6FDCEA}" dt="2024-06-07T09:21:38.352" v="42" actId="732"/>
          <ac:picMkLst>
            <pc:docMk/>
            <pc:sldMk cId="85902379" sldId="2147474936"/>
            <ac:picMk id="9" creationId="{37565AEF-3A9E-4D1E-B726-4A0ECC771C18}"/>
          </ac:picMkLst>
        </pc:picChg>
      </pc:sldChg>
      <pc:sldChg chg="add del">
        <pc:chgData name="Dimitri Militschenko" userId="2698819e-f51f-4938-ae1b-875ffc6b70b6" providerId="ADAL" clId="{A94DE860-344F-4223-82B3-A79F9E6FDCEA}" dt="2024-06-07T09:31:11.548" v="126" actId="47"/>
        <pc:sldMkLst>
          <pc:docMk/>
          <pc:sldMk cId="523415578" sldId="2147474936"/>
        </pc:sldMkLst>
      </pc:sldChg>
    </pc:docChg>
  </pc:docChgLst>
  <pc:docChgLst>
    <pc:chgData name="Dimitri Militschenko" userId="2698819e-f51f-4938-ae1b-875ffc6b70b6" providerId="ADAL" clId="{CE5F84DC-FB48-484E-960E-D50E0E4FED98}"/>
    <pc:docChg chg="undo redo custSel addSld delSld modSld">
      <pc:chgData name="Dimitri Militschenko" userId="2698819e-f51f-4938-ae1b-875ffc6b70b6" providerId="ADAL" clId="{CE5F84DC-FB48-484E-960E-D50E0E4FED98}" dt="2023-03-07T11:25:27.269" v="5009" actId="1076"/>
      <pc:docMkLst>
        <pc:docMk/>
      </pc:docMkLst>
      <pc:sldChg chg="addSp delSp modSp">
        <pc:chgData name="Dimitri Militschenko" userId="2698819e-f51f-4938-ae1b-875ffc6b70b6" providerId="ADAL" clId="{CE5F84DC-FB48-484E-960E-D50E0E4FED98}" dt="2023-03-07T11:19:17.108" v="4725" actId="478"/>
        <pc:sldMkLst>
          <pc:docMk/>
          <pc:sldMk cId="1886290154" sldId="260"/>
        </pc:sldMkLst>
        <pc:spChg chg="mod">
          <ac:chgData name="Dimitri Militschenko" userId="2698819e-f51f-4938-ae1b-875ffc6b70b6" providerId="ADAL" clId="{CE5F84DC-FB48-484E-960E-D50E0E4FED98}" dt="2023-03-07T11:02:32.720" v="1122" actId="20577"/>
          <ac:spMkLst>
            <pc:docMk/>
            <pc:sldMk cId="1886290154" sldId="260"/>
            <ac:spMk id="4" creationId="{DE95C3E3-719D-4345-B914-4108A41722B1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8" creationId="{B8C227EA-D214-4E6D-BEDF-22834850F220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2" creationId="{C8212638-18AA-4F5B-9630-5FD28D42FD24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3" creationId="{3105CBF0-4B1A-428F-BFAE-F0B87A93CAEF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4" creationId="{7209371D-5068-42F2-96C9-585E87003664}"/>
          </ac:spMkLst>
        </pc:spChg>
        <pc:spChg chg="add mod">
          <ac:chgData name="Dimitri Militschenko" userId="2698819e-f51f-4938-ae1b-875ffc6b70b6" providerId="ADAL" clId="{CE5F84DC-FB48-484E-960E-D50E0E4FED98}" dt="2023-03-07T11:04:21.106" v="1181" actId="113"/>
          <ac:spMkLst>
            <pc:docMk/>
            <pc:sldMk cId="1886290154" sldId="260"/>
            <ac:spMk id="26" creationId="{9DFB2138-DADA-4130-853E-27DCC0204AD1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27" creationId="{4A7E5DF6-43C4-4B1E-9B74-85D0069B6441}"/>
          </ac:spMkLst>
        </pc:spChg>
        <pc:spChg chg="add mod">
          <ac:chgData name="Dimitri Militschenko" userId="2698819e-f51f-4938-ae1b-875ffc6b70b6" providerId="ADAL" clId="{CE5F84DC-FB48-484E-960E-D50E0E4FED98}" dt="2023-03-07T10:50:45.812" v="899" actId="571"/>
          <ac:spMkLst>
            <pc:docMk/>
            <pc:sldMk cId="1886290154" sldId="260"/>
            <ac:spMk id="28" creationId="{2540F884-9C7E-4BFC-8497-CF3556B42E41}"/>
          </ac:spMkLst>
        </pc:spChg>
        <pc:spChg chg="add del">
          <ac:chgData name="Dimitri Militschenko" userId="2698819e-f51f-4938-ae1b-875ffc6b70b6" providerId="ADAL" clId="{CE5F84DC-FB48-484E-960E-D50E0E4FED98}" dt="2023-03-07T10:50:44.336" v="898"/>
          <ac:spMkLst>
            <pc:docMk/>
            <pc:sldMk cId="1886290154" sldId="260"/>
            <ac:spMk id="29" creationId="{0579D62F-81E8-4321-9418-AE505B2AACCF}"/>
          </ac:spMkLst>
        </pc:spChg>
        <pc:spChg chg="mod">
          <ac:chgData name="Dimitri Militschenko" userId="2698819e-f51f-4938-ae1b-875ffc6b70b6" providerId="ADAL" clId="{CE5F84DC-FB48-484E-960E-D50E0E4FED98}" dt="2023-03-07T11:04:31.913" v="1182" actId="113"/>
          <ac:spMkLst>
            <pc:docMk/>
            <pc:sldMk cId="1886290154" sldId="260"/>
            <ac:spMk id="30" creationId="{03B582E9-FDE3-4FDD-849B-1EA667694DBC}"/>
          </ac:spMkLst>
        </pc:spChg>
        <pc:spChg chg="del mod">
          <ac:chgData name="Dimitri Militschenko" userId="2698819e-f51f-4938-ae1b-875ffc6b70b6" providerId="ADAL" clId="{CE5F84DC-FB48-484E-960E-D50E0E4FED98}" dt="2023-03-07T10:56:06.689" v="967" actId="478"/>
          <ac:spMkLst>
            <pc:docMk/>
            <pc:sldMk cId="1886290154" sldId="260"/>
            <ac:spMk id="31" creationId="{BD70C336-9CDF-460A-8433-F1DA6C33DC52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32" creationId="{9E25B8AD-F507-4E31-9DF6-2F7A478F068D}"/>
          </ac:spMkLst>
        </pc:spChg>
        <pc:spChg chg="del">
          <ac:chgData name="Dimitri Militschenko" userId="2698819e-f51f-4938-ae1b-875ffc6b70b6" providerId="ADAL" clId="{CE5F84DC-FB48-484E-960E-D50E0E4FED98}" dt="2023-03-07T10:38:54.251" v="660" actId="478"/>
          <ac:spMkLst>
            <pc:docMk/>
            <pc:sldMk cId="1886290154" sldId="260"/>
            <ac:spMk id="33" creationId="{74E9B2F5-CA70-42FA-B664-A55F699C2FEA}"/>
          </ac:spMkLst>
        </pc:spChg>
        <pc:spChg chg="del mod">
          <ac:chgData name="Dimitri Militschenko" userId="2698819e-f51f-4938-ae1b-875ffc6b70b6" providerId="ADAL" clId="{CE5F84DC-FB48-484E-960E-D50E0E4FED98}" dt="2023-03-07T10:56:31.222" v="1019" actId="478"/>
          <ac:spMkLst>
            <pc:docMk/>
            <pc:sldMk cId="1886290154" sldId="260"/>
            <ac:spMk id="34" creationId="{3C102EE3-D92D-45B1-A1F3-0C10BC136E4D}"/>
          </ac:spMkLst>
        </pc:spChg>
        <pc:spChg chg="del mod">
          <ac:chgData name="Dimitri Militschenko" userId="2698819e-f51f-4938-ae1b-875ffc6b70b6" providerId="ADAL" clId="{CE5F84DC-FB48-484E-960E-D50E0E4FED98}" dt="2023-03-07T10:55:45.915" v="958" actId="478"/>
          <ac:spMkLst>
            <pc:docMk/>
            <pc:sldMk cId="1886290154" sldId="260"/>
            <ac:spMk id="35" creationId="{A0E0DBBF-A8B1-4737-8B7D-6DEDB2524007}"/>
          </ac:spMkLst>
        </pc:spChg>
        <pc:spChg chg="del mod">
          <ac:chgData name="Dimitri Militschenko" userId="2698819e-f51f-4938-ae1b-875ffc6b70b6" providerId="ADAL" clId="{CE5F84DC-FB48-484E-960E-D50E0E4FED98}" dt="2023-03-07T10:49:22.437" v="879" actId="478"/>
          <ac:spMkLst>
            <pc:docMk/>
            <pc:sldMk cId="1886290154" sldId="260"/>
            <ac:spMk id="36" creationId="{4805ECAF-49E6-4FB8-A0D6-912B16FE8537}"/>
          </ac:spMkLst>
        </pc:spChg>
        <pc:spChg chg="mod">
          <ac:chgData name="Dimitri Militschenko" userId="2698819e-f51f-4938-ae1b-875ffc6b70b6" providerId="ADAL" clId="{CE5F84DC-FB48-484E-960E-D50E0E4FED98}" dt="2023-03-07T10:57:52.963" v="1027" actId="20577"/>
          <ac:spMkLst>
            <pc:docMk/>
            <pc:sldMk cId="1886290154" sldId="260"/>
            <ac:spMk id="37" creationId="{C5017C0B-3E75-4CB7-B00C-A5A576FD91B3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38" creationId="{B7B4D921-2183-4BED-9657-452AA0DFAA60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39" creationId="{166FACCC-07EB-4F83-9A4C-B0A703841347}"/>
          </ac:spMkLst>
        </pc:spChg>
        <pc:spChg chg="add mod">
          <ac:chgData name="Dimitri Militschenko" userId="2698819e-f51f-4938-ae1b-875ffc6b70b6" providerId="ADAL" clId="{CE5F84DC-FB48-484E-960E-D50E0E4FED98}" dt="2023-03-07T11:03:57.506" v="1179" actId="113"/>
          <ac:spMkLst>
            <pc:docMk/>
            <pc:sldMk cId="1886290154" sldId="260"/>
            <ac:spMk id="40" creationId="{ED494EC8-0FBC-46AD-BCB6-AFE8A955C729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1" creationId="{3F83A9FC-DF2D-4D23-93CB-6CA04A6ADA28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2" creationId="{D3089898-E62F-4125-A023-B9805F69DA5A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3" creationId="{9292B92A-4C0F-44A0-B5DE-31FAF79B6EE5}"/>
          </ac:spMkLst>
        </pc:spChg>
        <pc:spChg chg="add mod">
          <ac:chgData name="Dimitri Militschenko" userId="2698819e-f51f-4938-ae1b-875ffc6b70b6" providerId="ADAL" clId="{CE5F84DC-FB48-484E-960E-D50E0E4FED98}" dt="2023-03-07T11:04:04.516" v="1180" actId="113"/>
          <ac:spMkLst>
            <pc:docMk/>
            <pc:sldMk cId="1886290154" sldId="260"/>
            <ac:spMk id="44" creationId="{F9271F09-4292-4BD7-B094-CB404D4B7CAE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5" creationId="{EA7DE4DF-0FC4-4F5E-ADF4-2D8690A4A94D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6" creationId="{2C7E8629-CD56-4427-A980-AAF2CF67F16E}"/>
          </ac:spMkLst>
        </pc:spChg>
        <pc:spChg chg="add mod">
          <ac:chgData name="Dimitri Militschenko" userId="2698819e-f51f-4938-ae1b-875ffc6b70b6" providerId="ADAL" clId="{CE5F84DC-FB48-484E-960E-D50E0E4FED98}" dt="2023-03-07T10:56:47.850" v="1021" actId="1076"/>
          <ac:spMkLst>
            <pc:docMk/>
            <pc:sldMk cId="1886290154" sldId="260"/>
            <ac:spMk id="47" creationId="{BA787FBC-8B4A-4B6D-8B47-8C8B40F989F0}"/>
          </ac:spMkLst>
        </pc:spChg>
        <pc:picChg chg="mod">
          <ac:chgData name="Dimitri Militschenko" userId="2698819e-f51f-4938-ae1b-875ffc6b70b6" providerId="ADAL" clId="{CE5F84DC-FB48-484E-960E-D50E0E4FED98}" dt="2023-03-07T10:56:47.850" v="1021" actId="1076"/>
          <ac:picMkLst>
            <pc:docMk/>
            <pc:sldMk cId="1886290154" sldId="260"/>
            <ac:picMk id="6" creationId="{EAC58450-8C7C-46FE-B3A1-2AF946881B83}"/>
          </ac:picMkLst>
        </pc:picChg>
        <pc:cxnChg chg="del mod">
          <ac:chgData name="Dimitri Militschenko" userId="2698819e-f51f-4938-ae1b-875ffc6b70b6" providerId="ADAL" clId="{CE5F84DC-FB48-484E-960E-D50E0E4FED98}" dt="2023-03-07T10:38:54.898" v="661" actId="478"/>
          <ac:cxnSpMkLst>
            <pc:docMk/>
            <pc:sldMk cId="1886290154" sldId="260"/>
            <ac:cxnSpMk id="10" creationId="{C6717914-4CC3-4C0D-99BD-11EBCA5B5801}"/>
          </ac:cxnSpMkLst>
        </pc:cxnChg>
        <pc:cxnChg chg="del mod">
          <ac:chgData name="Dimitri Militschenko" userId="2698819e-f51f-4938-ae1b-875ffc6b70b6" providerId="ADAL" clId="{CE5F84DC-FB48-484E-960E-D50E0E4FED98}" dt="2023-03-07T10:56:32.546" v="1020" actId="478"/>
          <ac:cxnSpMkLst>
            <pc:docMk/>
            <pc:sldMk cId="1886290154" sldId="260"/>
            <ac:cxnSpMk id="11" creationId="{CAD4F7C9-E333-43E4-AA5B-F4FAF08DC58D}"/>
          </ac:cxnSpMkLst>
        </pc:cxnChg>
        <pc:cxnChg chg="add del mod">
          <ac:chgData name="Dimitri Militschenko" userId="2698819e-f51f-4938-ae1b-875ffc6b70b6" providerId="ADAL" clId="{CE5F84DC-FB48-484E-960E-D50E0E4FED98}" dt="2023-03-07T11:19:17.108" v="4725" actId="478"/>
          <ac:cxnSpMkLst>
            <pc:docMk/>
            <pc:sldMk cId="1886290154" sldId="260"/>
            <ac:cxnSpMk id="12" creationId="{105B7069-BA16-4D95-89C7-BA60EC75E9E9}"/>
          </ac:cxnSpMkLst>
        </pc:cxnChg>
        <pc:cxnChg chg="del mod">
          <ac:chgData name="Dimitri Militschenko" userId="2698819e-f51f-4938-ae1b-875ffc6b70b6" providerId="ADAL" clId="{CE5F84DC-FB48-484E-960E-D50E0E4FED98}" dt="2023-03-07T10:55:47.834" v="959" actId="478"/>
          <ac:cxnSpMkLst>
            <pc:docMk/>
            <pc:sldMk cId="1886290154" sldId="260"/>
            <ac:cxnSpMk id="16" creationId="{36877F89-7DED-42FE-A7AD-A1D408716AA3}"/>
          </ac:cxnSpMkLst>
        </pc:cxnChg>
        <pc:cxnChg chg="del mod">
          <ac:chgData name="Dimitri Militschenko" userId="2698819e-f51f-4938-ae1b-875ffc6b70b6" providerId="ADAL" clId="{CE5F84DC-FB48-484E-960E-D50E0E4FED98}" dt="2023-03-07T10:56:07.414" v="968" actId="478"/>
          <ac:cxnSpMkLst>
            <pc:docMk/>
            <pc:sldMk cId="1886290154" sldId="260"/>
            <ac:cxnSpMk id="17" creationId="{E0DEFF46-70B1-4151-B7E4-086C7BE51705}"/>
          </ac:cxnSpMkLst>
        </pc:cxnChg>
        <pc:cxnChg chg="del mod">
          <ac:chgData name="Dimitri Militschenko" userId="2698819e-f51f-4938-ae1b-875ffc6b70b6" providerId="ADAL" clId="{CE5F84DC-FB48-484E-960E-D50E0E4FED98}" dt="2023-03-07T10:49:52.558" v="888" actId="478"/>
          <ac:cxnSpMkLst>
            <pc:docMk/>
            <pc:sldMk cId="1886290154" sldId="260"/>
            <ac:cxnSpMk id="21" creationId="{95B7F1B7-A19B-46F8-886A-371078BEAEEC}"/>
          </ac:cxnSpMkLst>
        </pc:cxnChg>
        <pc:cxnChg chg="del mod">
          <ac:chgData name="Dimitri Militschenko" userId="2698819e-f51f-4938-ae1b-875ffc6b70b6" providerId="ADAL" clId="{CE5F84DC-FB48-484E-960E-D50E0E4FED98}" dt="2023-03-07T10:47:11.562" v="723" actId="478"/>
          <ac:cxnSpMkLst>
            <pc:docMk/>
            <pc:sldMk cId="1886290154" sldId="260"/>
            <ac:cxnSpMk id="25" creationId="{7BFC28CC-8018-48DE-8216-D136E8F36F62}"/>
          </ac:cxnSpMkLst>
        </pc:cxnChg>
      </pc:sldChg>
      <pc:sldChg chg="addSp delSp modSp">
        <pc:chgData name="Dimitri Militschenko" userId="2698819e-f51f-4938-ae1b-875ffc6b70b6" providerId="ADAL" clId="{CE5F84DC-FB48-484E-960E-D50E0E4FED98}" dt="2023-03-07T11:16:58.584" v="4713"/>
        <pc:sldMkLst>
          <pc:docMk/>
          <pc:sldMk cId="2389000172" sldId="266"/>
        </pc:sldMkLst>
        <pc:spChg chg="mod">
          <ac:chgData name="Dimitri Militschenko" userId="2698819e-f51f-4938-ae1b-875ffc6b70b6" providerId="ADAL" clId="{CE5F84DC-FB48-484E-960E-D50E0E4FED98}" dt="2023-03-07T11:16:58.540" v="4628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Dimitri Militschenko" userId="2698819e-f51f-4938-ae1b-875ffc6b70b6" providerId="ADAL" clId="{CE5F84DC-FB48-484E-960E-D50E0E4FED98}" dt="2023-03-07T11:07:08.556" v="1309"/>
          <ac:spMkLst>
            <pc:docMk/>
            <pc:sldMk cId="2389000172" sldId="266"/>
            <ac:spMk id="6" creationId="{B68388A4-B011-4A3C-B899-CF27369DDEAC}"/>
          </ac:spMkLst>
        </pc:spChg>
        <pc:spChg chg="add del mod">
          <ac:chgData name="Dimitri Militschenko" userId="2698819e-f51f-4938-ae1b-875ffc6b70b6" providerId="ADAL" clId="{CE5F84DC-FB48-484E-960E-D50E0E4FED98}" dt="2023-03-07T11:07:09.918" v="1381"/>
          <ac:spMkLst>
            <pc:docMk/>
            <pc:sldMk cId="2389000172" sldId="266"/>
            <ac:spMk id="8" creationId="{CEDEA8E0-28AB-499E-ABBB-15C0C7B239B4}"/>
          </ac:spMkLst>
        </pc:spChg>
        <pc:spChg chg="add del mod">
          <ac:chgData name="Dimitri Militschenko" userId="2698819e-f51f-4938-ae1b-875ffc6b70b6" providerId="ADAL" clId="{CE5F84DC-FB48-484E-960E-D50E0E4FED98}" dt="2023-03-07T11:07:10.477" v="1453"/>
          <ac:spMkLst>
            <pc:docMk/>
            <pc:sldMk cId="2389000172" sldId="266"/>
            <ac:spMk id="9" creationId="{E6BBDDD5-B982-439E-A98A-90711208B167}"/>
          </ac:spMkLst>
        </pc:spChg>
        <pc:spChg chg="add del mod">
          <ac:chgData name="Dimitri Militschenko" userId="2698819e-f51f-4938-ae1b-875ffc6b70b6" providerId="ADAL" clId="{CE5F84DC-FB48-484E-960E-D50E0E4FED98}" dt="2023-03-07T11:07:12.544" v="1531"/>
          <ac:spMkLst>
            <pc:docMk/>
            <pc:sldMk cId="2389000172" sldId="266"/>
            <ac:spMk id="10" creationId="{7522ECBF-4BED-411E-8141-142D34BBD395}"/>
          </ac:spMkLst>
        </pc:spChg>
        <pc:spChg chg="add del mod">
          <ac:chgData name="Dimitri Militschenko" userId="2698819e-f51f-4938-ae1b-875ffc6b70b6" providerId="ADAL" clId="{CE5F84DC-FB48-484E-960E-D50E0E4FED98}" dt="2023-03-07T11:07:16.119" v="1622"/>
          <ac:spMkLst>
            <pc:docMk/>
            <pc:sldMk cId="2389000172" sldId="266"/>
            <ac:spMk id="11" creationId="{5EBC6382-E782-4B3D-80CE-84F29792BA7E}"/>
          </ac:spMkLst>
        </pc:spChg>
        <pc:spChg chg="add del mod">
          <ac:chgData name="Dimitri Militschenko" userId="2698819e-f51f-4938-ae1b-875ffc6b70b6" providerId="ADAL" clId="{CE5F84DC-FB48-484E-960E-D50E0E4FED98}" dt="2023-03-07T11:07:22.072" v="1703"/>
          <ac:spMkLst>
            <pc:docMk/>
            <pc:sldMk cId="2389000172" sldId="266"/>
            <ac:spMk id="12" creationId="{09389D88-B01C-4B19-AB13-34ED349A8B23}"/>
          </ac:spMkLst>
        </pc:spChg>
        <pc:spChg chg="add del mod">
          <ac:chgData name="Dimitri Militschenko" userId="2698819e-f51f-4938-ae1b-875ffc6b70b6" providerId="ADAL" clId="{CE5F84DC-FB48-484E-960E-D50E0E4FED98}" dt="2023-03-07T11:07:24.364" v="1780"/>
          <ac:spMkLst>
            <pc:docMk/>
            <pc:sldMk cId="2389000172" sldId="266"/>
            <ac:spMk id="13" creationId="{73F9DA44-C760-472B-8F38-9B5F446E0DCD}"/>
          </ac:spMkLst>
        </pc:spChg>
        <pc:spChg chg="add del mod">
          <ac:chgData name="Dimitri Militschenko" userId="2698819e-f51f-4938-ae1b-875ffc6b70b6" providerId="ADAL" clId="{CE5F84DC-FB48-484E-960E-D50E0E4FED98}" dt="2023-03-07T11:07:25.854" v="1859"/>
          <ac:spMkLst>
            <pc:docMk/>
            <pc:sldMk cId="2389000172" sldId="266"/>
            <ac:spMk id="14" creationId="{61709C3A-EF8B-4543-A2BB-7E596D607246}"/>
          </ac:spMkLst>
        </pc:spChg>
        <pc:spChg chg="add del mod">
          <ac:chgData name="Dimitri Militschenko" userId="2698819e-f51f-4938-ae1b-875ffc6b70b6" providerId="ADAL" clId="{CE5F84DC-FB48-484E-960E-D50E0E4FED98}" dt="2023-03-07T11:07:40.140" v="1933"/>
          <ac:spMkLst>
            <pc:docMk/>
            <pc:sldMk cId="2389000172" sldId="266"/>
            <ac:spMk id="15" creationId="{D7746D11-6E69-40E9-B010-EF5141B66401}"/>
          </ac:spMkLst>
        </pc:spChg>
        <pc:spChg chg="add del mod">
          <ac:chgData name="Dimitri Militschenko" userId="2698819e-f51f-4938-ae1b-875ffc6b70b6" providerId="ADAL" clId="{CE5F84DC-FB48-484E-960E-D50E0E4FED98}" dt="2023-03-07T11:07:41.400" v="2008"/>
          <ac:spMkLst>
            <pc:docMk/>
            <pc:sldMk cId="2389000172" sldId="266"/>
            <ac:spMk id="16" creationId="{6A6E414A-0CD0-4944-BF86-4EF939663263}"/>
          </ac:spMkLst>
        </pc:spChg>
        <pc:spChg chg="add del mod">
          <ac:chgData name="Dimitri Militschenko" userId="2698819e-f51f-4938-ae1b-875ffc6b70b6" providerId="ADAL" clId="{CE5F84DC-FB48-484E-960E-D50E0E4FED98}" dt="2023-03-07T11:07:43.473" v="2088"/>
          <ac:spMkLst>
            <pc:docMk/>
            <pc:sldMk cId="2389000172" sldId="266"/>
            <ac:spMk id="17" creationId="{C7192977-A35F-4F24-9411-1D7119094E2A}"/>
          </ac:spMkLst>
        </pc:spChg>
        <pc:spChg chg="add del mod">
          <ac:chgData name="Dimitri Militschenko" userId="2698819e-f51f-4938-ae1b-875ffc6b70b6" providerId="ADAL" clId="{CE5F84DC-FB48-484E-960E-D50E0E4FED98}" dt="2023-03-07T11:07:44.784" v="2130"/>
          <ac:spMkLst>
            <pc:docMk/>
            <pc:sldMk cId="2389000172" sldId="266"/>
            <ac:spMk id="18" creationId="{06A1C4E8-3536-43E4-917C-FDAB08D2A207}"/>
          </ac:spMkLst>
        </pc:spChg>
        <pc:spChg chg="add del mod">
          <ac:chgData name="Dimitri Militschenko" userId="2698819e-f51f-4938-ae1b-875ffc6b70b6" providerId="ADAL" clId="{CE5F84DC-FB48-484E-960E-D50E0E4FED98}" dt="2023-03-07T11:07:45.607" v="2172"/>
          <ac:spMkLst>
            <pc:docMk/>
            <pc:sldMk cId="2389000172" sldId="266"/>
            <ac:spMk id="19" creationId="{40C72A2C-AF77-4DFF-8753-39945A231C1B}"/>
          </ac:spMkLst>
        </pc:spChg>
        <pc:spChg chg="add del mod">
          <ac:chgData name="Dimitri Militschenko" userId="2698819e-f51f-4938-ae1b-875ffc6b70b6" providerId="ADAL" clId="{CE5F84DC-FB48-484E-960E-D50E0E4FED98}" dt="2023-03-07T11:07:56.486" v="2236"/>
          <ac:spMkLst>
            <pc:docMk/>
            <pc:sldMk cId="2389000172" sldId="266"/>
            <ac:spMk id="20" creationId="{6973BAED-7F1F-4B98-97B1-BE2930FDCF5A}"/>
          </ac:spMkLst>
        </pc:spChg>
        <pc:spChg chg="add del mod">
          <ac:chgData name="Dimitri Militschenko" userId="2698819e-f51f-4938-ae1b-875ffc6b70b6" providerId="ADAL" clId="{CE5F84DC-FB48-484E-960E-D50E0E4FED98}" dt="2023-03-07T11:07:57.231" v="2278"/>
          <ac:spMkLst>
            <pc:docMk/>
            <pc:sldMk cId="2389000172" sldId="266"/>
            <ac:spMk id="21" creationId="{54D34706-0C6E-4CC9-8279-0A3BEDEC86AC}"/>
          </ac:spMkLst>
        </pc:spChg>
        <pc:spChg chg="add del mod">
          <ac:chgData name="Dimitri Militschenko" userId="2698819e-f51f-4938-ae1b-875ffc6b70b6" providerId="ADAL" clId="{CE5F84DC-FB48-484E-960E-D50E0E4FED98}" dt="2023-03-07T11:08:01.564" v="2341"/>
          <ac:spMkLst>
            <pc:docMk/>
            <pc:sldMk cId="2389000172" sldId="266"/>
            <ac:spMk id="22" creationId="{FBEC2A7E-71FF-4270-B0E3-96CD0A34FE3E}"/>
          </ac:spMkLst>
        </pc:spChg>
        <pc:spChg chg="add del mod">
          <ac:chgData name="Dimitri Militschenko" userId="2698819e-f51f-4938-ae1b-875ffc6b70b6" providerId="ADAL" clId="{CE5F84DC-FB48-484E-960E-D50E0E4FED98}" dt="2023-03-07T11:08:02.542" v="2386"/>
          <ac:spMkLst>
            <pc:docMk/>
            <pc:sldMk cId="2389000172" sldId="266"/>
            <ac:spMk id="23" creationId="{ADD2406F-7618-4FCC-81D4-116DC8FAF86D}"/>
          </ac:spMkLst>
        </pc:spChg>
        <pc:spChg chg="add del mod">
          <ac:chgData name="Dimitri Militschenko" userId="2698819e-f51f-4938-ae1b-875ffc6b70b6" providerId="ADAL" clId="{CE5F84DC-FB48-484E-960E-D50E0E4FED98}" dt="2023-03-07T11:08:03.945" v="2429"/>
          <ac:spMkLst>
            <pc:docMk/>
            <pc:sldMk cId="2389000172" sldId="266"/>
            <ac:spMk id="24" creationId="{5BF1C555-E6D3-4E52-9045-D6FE8803A603}"/>
          </ac:spMkLst>
        </pc:spChg>
        <pc:spChg chg="add del mod">
          <ac:chgData name="Dimitri Militschenko" userId="2698819e-f51f-4938-ae1b-875ffc6b70b6" providerId="ADAL" clId="{CE5F84DC-FB48-484E-960E-D50E0E4FED98}" dt="2023-03-07T11:08:11.509" v="2507"/>
          <ac:spMkLst>
            <pc:docMk/>
            <pc:sldMk cId="2389000172" sldId="266"/>
            <ac:spMk id="25" creationId="{8AC08C37-EE5A-44FE-A8F4-80FE926CB899}"/>
          </ac:spMkLst>
        </pc:spChg>
        <pc:spChg chg="add del mod">
          <ac:chgData name="Dimitri Militschenko" userId="2698819e-f51f-4938-ae1b-875ffc6b70b6" providerId="ADAL" clId="{CE5F84DC-FB48-484E-960E-D50E0E4FED98}" dt="2023-03-07T11:08:17.692" v="2554"/>
          <ac:spMkLst>
            <pc:docMk/>
            <pc:sldMk cId="2389000172" sldId="266"/>
            <ac:spMk id="26" creationId="{A1E154D2-F5B2-4929-93D7-AB5F0C07DE63}"/>
          </ac:spMkLst>
        </pc:spChg>
        <pc:spChg chg="add del mod">
          <ac:chgData name="Dimitri Militschenko" userId="2698819e-f51f-4938-ae1b-875ffc6b70b6" providerId="ADAL" clId="{CE5F84DC-FB48-484E-960E-D50E0E4FED98}" dt="2023-03-07T11:08:19.729" v="2602"/>
          <ac:spMkLst>
            <pc:docMk/>
            <pc:sldMk cId="2389000172" sldId="266"/>
            <ac:spMk id="27" creationId="{28E6F3B1-E39D-4773-9431-F9B9076DC211}"/>
          </ac:spMkLst>
        </pc:spChg>
        <pc:spChg chg="add del mod">
          <ac:chgData name="Dimitri Militschenko" userId="2698819e-f51f-4938-ae1b-875ffc6b70b6" providerId="ADAL" clId="{CE5F84DC-FB48-484E-960E-D50E0E4FED98}" dt="2023-03-07T11:08:29.038" v="2653"/>
          <ac:spMkLst>
            <pc:docMk/>
            <pc:sldMk cId="2389000172" sldId="266"/>
            <ac:spMk id="28" creationId="{F7C225EE-0560-4997-9A06-9AC3BBB9F900}"/>
          </ac:spMkLst>
        </pc:spChg>
        <pc:spChg chg="add del mod">
          <ac:chgData name="Dimitri Militschenko" userId="2698819e-f51f-4938-ae1b-875ffc6b70b6" providerId="ADAL" clId="{CE5F84DC-FB48-484E-960E-D50E0E4FED98}" dt="2023-03-07T11:08:33.097" v="2695"/>
          <ac:spMkLst>
            <pc:docMk/>
            <pc:sldMk cId="2389000172" sldId="266"/>
            <ac:spMk id="29" creationId="{7D3FD8F2-9042-4C80-ACF9-683BF6399D1E}"/>
          </ac:spMkLst>
        </pc:spChg>
        <pc:spChg chg="add del mod">
          <ac:chgData name="Dimitri Militschenko" userId="2698819e-f51f-4938-ae1b-875ffc6b70b6" providerId="ADAL" clId="{CE5F84DC-FB48-484E-960E-D50E0E4FED98}" dt="2023-03-07T11:08:36.151" v="2750"/>
          <ac:spMkLst>
            <pc:docMk/>
            <pc:sldMk cId="2389000172" sldId="266"/>
            <ac:spMk id="30" creationId="{4B37342B-CB66-4550-8076-A24D7B447BC0}"/>
          </ac:spMkLst>
        </pc:spChg>
        <pc:spChg chg="add del mod">
          <ac:chgData name="Dimitri Militschenko" userId="2698819e-f51f-4938-ae1b-875ffc6b70b6" providerId="ADAL" clId="{CE5F84DC-FB48-484E-960E-D50E0E4FED98}" dt="2023-03-07T11:08:41.434" v="2806"/>
          <ac:spMkLst>
            <pc:docMk/>
            <pc:sldMk cId="2389000172" sldId="266"/>
            <ac:spMk id="31" creationId="{CAC157D2-45A8-449F-888A-EB21E7A60CEF}"/>
          </ac:spMkLst>
        </pc:spChg>
        <pc:spChg chg="add del mod">
          <ac:chgData name="Dimitri Militschenko" userId="2698819e-f51f-4938-ae1b-875ffc6b70b6" providerId="ADAL" clId="{CE5F84DC-FB48-484E-960E-D50E0E4FED98}" dt="2023-03-07T11:08:42.269" v="2849"/>
          <ac:spMkLst>
            <pc:docMk/>
            <pc:sldMk cId="2389000172" sldId="266"/>
            <ac:spMk id="32" creationId="{C78E832E-BD75-45F3-9BB4-859BA1407E98}"/>
          </ac:spMkLst>
        </pc:spChg>
        <pc:spChg chg="add del mod">
          <ac:chgData name="Dimitri Militschenko" userId="2698819e-f51f-4938-ae1b-875ffc6b70b6" providerId="ADAL" clId="{CE5F84DC-FB48-484E-960E-D50E0E4FED98}" dt="2023-03-07T11:08:52.446" v="2900"/>
          <ac:spMkLst>
            <pc:docMk/>
            <pc:sldMk cId="2389000172" sldId="266"/>
            <ac:spMk id="33" creationId="{4BDE7750-3E0A-4C8F-9873-5472605056AE}"/>
          </ac:spMkLst>
        </pc:spChg>
        <pc:spChg chg="add del mod">
          <ac:chgData name="Dimitri Militschenko" userId="2698819e-f51f-4938-ae1b-875ffc6b70b6" providerId="ADAL" clId="{CE5F84DC-FB48-484E-960E-D50E0E4FED98}" dt="2023-03-07T11:08:56.816" v="2942"/>
          <ac:spMkLst>
            <pc:docMk/>
            <pc:sldMk cId="2389000172" sldId="266"/>
            <ac:spMk id="34" creationId="{E9488530-EEE7-411E-B1F9-44F8F6D26E4E}"/>
          </ac:spMkLst>
        </pc:spChg>
        <pc:spChg chg="add del mod">
          <ac:chgData name="Dimitri Militschenko" userId="2698819e-f51f-4938-ae1b-875ffc6b70b6" providerId="ADAL" clId="{CE5F84DC-FB48-484E-960E-D50E0E4FED98}" dt="2023-03-07T11:08:58.754" v="2984"/>
          <ac:spMkLst>
            <pc:docMk/>
            <pc:sldMk cId="2389000172" sldId="266"/>
            <ac:spMk id="35" creationId="{A9F963AD-3505-4C8F-B4C5-8103FFB0A12A}"/>
          </ac:spMkLst>
        </pc:spChg>
        <pc:spChg chg="add del mod">
          <ac:chgData name="Dimitri Militschenko" userId="2698819e-f51f-4938-ae1b-875ffc6b70b6" providerId="ADAL" clId="{CE5F84DC-FB48-484E-960E-D50E0E4FED98}" dt="2023-03-07T11:09:00.928" v="3026"/>
          <ac:spMkLst>
            <pc:docMk/>
            <pc:sldMk cId="2389000172" sldId="266"/>
            <ac:spMk id="36" creationId="{75D1F133-375A-401F-A167-E3FFA1CB9788}"/>
          </ac:spMkLst>
        </pc:spChg>
        <pc:spChg chg="add del mod">
          <ac:chgData name="Dimitri Militschenko" userId="2698819e-f51f-4938-ae1b-875ffc6b70b6" providerId="ADAL" clId="{CE5F84DC-FB48-484E-960E-D50E0E4FED98}" dt="2023-03-07T11:09:02.628" v="3068"/>
          <ac:spMkLst>
            <pc:docMk/>
            <pc:sldMk cId="2389000172" sldId="266"/>
            <ac:spMk id="37" creationId="{DE9E4226-3448-4D0C-9B16-331FCDBBC16B}"/>
          </ac:spMkLst>
        </pc:spChg>
        <pc:spChg chg="add del mod">
          <ac:chgData name="Dimitri Militschenko" userId="2698819e-f51f-4938-ae1b-875ffc6b70b6" providerId="ADAL" clId="{CE5F84DC-FB48-484E-960E-D50E0E4FED98}" dt="2023-03-07T11:09:04.831" v="3110"/>
          <ac:spMkLst>
            <pc:docMk/>
            <pc:sldMk cId="2389000172" sldId="266"/>
            <ac:spMk id="38" creationId="{70995C4B-0573-4870-BCBA-39A6B77C2074}"/>
          </ac:spMkLst>
        </pc:spChg>
        <pc:spChg chg="add del mod">
          <ac:chgData name="Dimitri Militschenko" userId="2698819e-f51f-4938-ae1b-875ffc6b70b6" providerId="ADAL" clId="{CE5F84DC-FB48-484E-960E-D50E0E4FED98}" dt="2023-03-07T11:09:05.926" v="3152"/>
          <ac:spMkLst>
            <pc:docMk/>
            <pc:sldMk cId="2389000172" sldId="266"/>
            <ac:spMk id="39" creationId="{8CBA3A5E-6F43-4054-922B-0F38290312E4}"/>
          </ac:spMkLst>
        </pc:spChg>
        <pc:spChg chg="add del mod">
          <ac:chgData name="Dimitri Militschenko" userId="2698819e-f51f-4938-ae1b-875ffc6b70b6" providerId="ADAL" clId="{CE5F84DC-FB48-484E-960E-D50E0E4FED98}" dt="2023-03-07T11:09:14.627" v="3196"/>
          <ac:spMkLst>
            <pc:docMk/>
            <pc:sldMk cId="2389000172" sldId="266"/>
            <ac:spMk id="40" creationId="{79534EB6-D168-4D8D-A80F-79D3240C278E}"/>
          </ac:spMkLst>
        </pc:spChg>
        <pc:spChg chg="add del mod">
          <ac:chgData name="Dimitri Militschenko" userId="2698819e-f51f-4938-ae1b-875ffc6b70b6" providerId="ADAL" clId="{CE5F84DC-FB48-484E-960E-D50E0E4FED98}" dt="2023-03-07T11:09:21.922" v="3238"/>
          <ac:spMkLst>
            <pc:docMk/>
            <pc:sldMk cId="2389000172" sldId="266"/>
            <ac:spMk id="41" creationId="{74CD436F-5FCB-45E1-88B4-40AF1733E645}"/>
          </ac:spMkLst>
        </pc:spChg>
        <pc:spChg chg="add del mod">
          <ac:chgData name="Dimitri Militschenko" userId="2698819e-f51f-4938-ae1b-875ffc6b70b6" providerId="ADAL" clId="{CE5F84DC-FB48-484E-960E-D50E0E4FED98}" dt="2023-03-07T11:09:28.421" v="3295"/>
          <ac:spMkLst>
            <pc:docMk/>
            <pc:sldMk cId="2389000172" sldId="266"/>
            <ac:spMk id="42" creationId="{2E32CC49-FD6E-4D63-B389-C85282A0D3C2}"/>
          </ac:spMkLst>
        </pc:spChg>
        <pc:spChg chg="add del mod">
          <ac:chgData name="Dimitri Militschenko" userId="2698819e-f51f-4938-ae1b-875ffc6b70b6" providerId="ADAL" clId="{CE5F84DC-FB48-484E-960E-D50E0E4FED98}" dt="2023-03-07T11:11:42.044" v="3358"/>
          <ac:spMkLst>
            <pc:docMk/>
            <pc:sldMk cId="2389000172" sldId="266"/>
            <ac:spMk id="43" creationId="{2292AD70-D061-4DEE-B426-4F0631DF4FF5}"/>
          </ac:spMkLst>
        </pc:spChg>
        <pc:spChg chg="add del mod">
          <ac:chgData name="Dimitri Militschenko" userId="2698819e-f51f-4938-ae1b-875ffc6b70b6" providerId="ADAL" clId="{CE5F84DC-FB48-484E-960E-D50E0E4FED98}" dt="2023-03-07T11:11:44.682" v="3421"/>
          <ac:spMkLst>
            <pc:docMk/>
            <pc:sldMk cId="2389000172" sldId="266"/>
            <ac:spMk id="44" creationId="{B2E0C43C-701E-41CF-B66D-94FB89068ED8}"/>
          </ac:spMkLst>
        </pc:spChg>
        <pc:spChg chg="add del mod">
          <ac:chgData name="Dimitri Militschenko" userId="2698819e-f51f-4938-ae1b-875ffc6b70b6" providerId="ADAL" clId="{CE5F84DC-FB48-484E-960E-D50E0E4FED98}" dt="2023-03-07T11:11:56.688" v="3508"/>
          <ac:spMkLst>
            <pc:docMk/>
            <pc:sldMk cId="2389000172" sldId="266"/>
            <ac:spMk id="45" creationId="{B5209576-D69A-437C-B888-BDA198FB94A1}"/>
          </ac:spMkLst>
        </pc:spChg>
        <pc:spChg chg="add del mod">
          <ac:chgData name="Dimitri Militschenko" userId="2698819e-f51f-4938-ae1b-875ffc6b70b6" providerId="ADAL" clId="{CE5F84DC-FB48-484E-960E-D50E0E4FED98}" dt="2023-03-07T11:11:57.479" v="3565"/>
          <ac:spMkLst>
            <pc:docMk/>
            <pc:sldMk cId="2389000172" sldId="266"/>
            <ac:spMk id="46" creationId="{4AFC693C-8FFD-4533-B74B-F91BF65C28E5}"/>
          </ac:spMkLst>
        </pc:spChg>
        <pc:spChg chg="add del mod">
          <ac:chgData name="Dimitri Militschenko" userId="2698819e-f51f-4938-ae1b-875ffc6b70b6" providerId="ADAL" clId="{CE5F84DC-FB48-484E-960E-D50E0E4FED98}" dt="2023-03-07T11:12:02.361" v="3623"/>
          <ac:spMkLst>
            <pc:docMk/>
            <pc:sldMk cId="2389000172" sldId="266"/>
            <ac:spMk id="47" creationId="{64A3D2ED-E72E-4ED3-B6F5-A92ED1B1FB11}"/>
          </ac:spMkLst>
        </pc:spChg>
        <pc:spChg chg="add del mod">
          <ac:chgData name="Dimitri Militschenko" userId="2698819e-f51f-4938-ae1b-875ffc6b70b6" providerId="ADAL" clId="{CE5F84DC-FB48-484E-960E-D50E0E4FED98}" dt="2023-03-07T11:12:03.635" v="3681"/>
          <ac:spMkLst>
            <pc:docMk/>
            <pc:sldMk cId="2389000172" sldId="266"/>
            <ac:spMk id="48" creationId="{F44CE8DA-04F7-40C8-8060-6FBA33C884DD}"/>
          </ac:spMkLst>
        </pc:spChg>
        <pc:spChg chg="add del mod">
          <ac:chgData name="Dimitri Militschenko" userId="2698819e-f51f-4938-ae1b-875ffc6b70b6" providerId="ADAL" clId="{CE5F84DC-FB48-484E-960E-D50E0E4FED98}" dt="2023-03-07T11:12:15.069" v="3739"/>
          <ac:spMkLst>
            <pc:docMk/>
            <pc:sldMk cId="2389000172" sldId="266"/>
            <ac:spMk id="49" creationId="{90BAC79A-09DE-4A4F-87A0-C7538C3DA930}"/>
          </ac:spMkLst>
        </pc:spChg>
        <pc:spChg chg="add del mod">
          <ac:chgData name="Dimitri Militschenko" userId="2698819e-f51f-4938-ae1b-875ffc6b70b6" providerId="ADAL" clId="{CE5F84DC-FB48-484E-960E-D50E0E4FED98}" dt="2023-03-07T11:13:47.788" v="3798"/>
          <ac:spMkLst>
            <pc:docMk/>
            <pc:sldMk cId="2389000172" sldId="266"/>
            <ac:spMk id="50" creationId="{8CBDC174-4DF3-4DDE-8951-C8935C4C77A7}"/>
          </ac:spMkLst>
        </pc:spChg>
        <pc:spChg chg="add del mod">
          <ac:chgData name="Dimitri Militschenko" userId="2698819e-f51f-4938-ae1b-875ffc6b70b6" providerId="ADAL" clId="{CE5F84DC-FB48-484E-960E-D50E0E4FED98}" dt="2023-03-07T11:14:41.250" v="3861"/>
          <ac:spMkLst>
            <pc:docMk/>
            <pc:sldMk cId="2389000172" sldId="266"/>
            <ac:spMk id="51" creationId="{94B94CA5-1E17-4433-A5FB-B43945FAA96E}"/>
          </ac:spMkLst>
        </pc:spChg>
        <pc:spChg chg="add del mod">
          <ac:chgData name="Dimitri Militschenko" userId="2698819e-f51f-4938-ae1b-875ffc6b70b6" providerId="ADAL" clId="{CE5F84DC-FB48-484E-960E-D50E0E4FED98}" dt="2023-03-07T11:14:44.291" v="3933"/>
          <ac:spMkLst>
            <pc:docMk/>
            <pc:sldMk cId="2389000172" sldId="266"/>
            <ac:spMk id="52" creationId="{AECF0B62-8C19-4DED-9872-8F80FB13F891}"/>
          </ac:spMkLst>
        </pc:spChg>
        <pc:spChg chg="add del mod">
          <ac:chgData name="Dimitri Militschenko" userId="2698819e-f51f-4938-ae1b-875ffc6b70b6" providerId="ADAL" clId="{CE5F84DC-FB48-484E-960E-D50E0E4FED98}" dt="2023-03-07T11:14:47.954" v="3991"/>
          <ac:spMkLst>
            <pc:docMk/>
            <pc:sldMk cId="2389000172" sldId="266"/>
            <ac:spMk id="53" creationId="{459A7BFC-216C-4031-8639-8DDDBB85A477}"/>
          </ac:spMkLst>
        </pc:spChg>
        <pc:spChg chg="add del mod">
          <ac:chgData name="Dimitri Militschenko" userId="2698819e-f51f-4938-ae1b-875ffc6b70b6" providerId="ADAL" clId="{CE5F84DC-FB48-484E-960E-D50E0E4FED98}" dt="2023-03-07T11:15:42.639" v="4284" actId="478"/>
          <ac:spMkLst>
            <pc:docMk/>
            <pc:sldMk cId="2389000172" sldId="266"/>
            <ac:spMk id="54" creationId="{B64FA00A-A9D2-4AC5-8A2F-A9D60AF524AE}"/>
          </ac:spMkLst>
        </pc:spChg>
        <pc:spChg chg="add del mod">
          <ac:chgData name="Dimitri Militschenko" userId="2698819e-f51f-4938-ae1b-875ffc6b70b6" providerId="ADAL" clId="{CE5F84DC-FB48-484E-960E-D50E0E4FED98}" dt="2023-03-07T11:15:40.947" v="4171" actId="139"/>
          <ac:spMkLst>
            <pc:docMk/>
            <pc:sldMk cId="2389000172" sldId="266"/>
            <ac:spMk id="55" creationId="{36C625B0-4112-4834-8384-0A69EED2CAA9}"/>
          </ac:spMkLst>
        </pc:spChg>
        <pc:spChg chg="add del mod">
          <ac:chgData name="Dimitri Militschenko" userId="2698819e-f51f-4938-ae1b-875ffc6b70b6" providerId="ADAL" clId="{CE5F84DC-FB48-484E-960E-D50E0E4FED98}" dt="2023-03-07T11:15:56.979" v="4358"/>
          <ac:spMkLst>
            <pc:docMk/>
            <pc:sldMk cId="2389000172" sldId="266"/>
            <ac:spMk id="56" creationId="{56577EE1-E0F3-4538-BC71-7D3612280042}"/>
          </ac:spMkLst>
        </pc:spChg>
        <pc:spChg chg="add del mod">
          <ac:chgData name="Dimitri Militschenko" userId="2698819e-f51f-4938-ae1b-875ffc6b70b6" providerId="ADAL" clId="{CE5F84DC-FB48-484E-960E-D50E0E4FED98}" dt="2023-03-07T11:16:04.812" v="4430"/>
          <ac:spMkLst>
            <pc:docMk/>
            <pc:sldMk cId="2389000172" sldId="266"/>
            <ac:spMk id="57" creationId="{4BA62AC1-F6A1-4B70-AA81-B99D3022513F}"/>
          </ac:spMkLst>
        </pc:spChg>
        <pc:spChg chg="add del mod">
          <ac:chgData name="Dimitri Militschenko" userId="2698819e-f51f-4938-ae1b-875ffc6b70b6" providerId="ADAL" clId="{CE5F84DC-FB48-484E-960E-D50E0E4FED98}" dt="2023-03-07T11:16:16.696" v="4487"/>
          <ac:spMkLst>
            <pc:docMk/>
            <pc:sldMk cId="2389000172" sldId="266"/>
            <ac:spMk id="58" creationId="{9B8FA3E0-624B-47C8-8B44-276FB231E10C}"/>
          </ac:spMkLst>
        </pc:spChg>
        <pc:spChg chg="add del mod">
          <ac:chgData name="Dimitri Militschenko" userId="2698819e-f51f-4938-ae1b-875ffc6b70b6" providerId="ADAL" clId="{CE5F84DC-FB48-484E-960E-D50E0E4FED98}" dt="2023-03-07T11:16:53.559" v="4549"/>
          <ac:spMkLst>
            <pc:docMk/>
            <pc:sldMk cId="2389000172" sldId="266"/>
            <ac:spMk id="59" creationId="{464498FD-E3B5-4D23-8675-07B7B227B143}"/>
          </ac:spMkLst>
        </pc:spChg>
        <pc:spChg chg="add del mod">
          <ac:chgData name="Dimitri Militschenko" userId="2698819e-f51f-4938-ae1b-875ffc6b70b6" providerId="ADAL" clId="{CE5F84DC-FB48-484E-960E-D50E0E4FED98}" dt="2023-03-07T11:16:57.209" v="4624"/>
          <ac:spMkLst>
            <pc:docMk/>
            <pc:sldMk cId="2389000172" sldId="266"/>
            <ac:spMk id="60" creationId="{504A3E60-6778-4B17-9847-38F9BF52A8EE}"/>
          </ac:spMkLst>
        </pc:spChg>
        <pc:spChg chg="add del mod">
          <ac:chgData name="Dimitri Militschenko" userId="2698819e-f51f-4938-ae1b-875ffc6b70b6" providerId="ADAL" clId="{CE5F84DC-FB48-484E-960E-D50E0E4FED98}" dt="2023-03-07T11:16:58.582" v="4711"/>
          <ac:spMkLst>
            <pc:docMk/>
            <pc:sldMk cId="2389000172" sldId="266"/>
            <ac:spMk id="61" creationId="{1C5BA697-BAC3-42DD-BC55-BC6F0552A3A2}"/>
          </ac:spMkLst>
        </pc:spChg>
        <pc:graphicFrameChg chg="mod">
          <ac:chgData name="Dimitri Militschenko" userId="2698819e-f51f-4938-ae1b-875ffc6b70b6" providerId="ADAL" clId="{CE5F84DC-FB48-484E-960E-D50E0E4FED98}" dt="2023-03-07T11:16:58.584" v="4713"/>
          <ac:graphicFrameMkLst>
            <pc:docMk/>
            <pc:sldMk cId="2389000172" sldId="266"/>
            <ac:graphicFrameMk id="7" creationId="{86CC1DF6-00DD-4FBE-B9CB-B5D097381298}"/>
          </ac:graphicFrameMkLst>
        </pc:graphicFrameChg>
        <pc:picChg chg="mod">
          <ac:chgData name="Dimitri Militschenko" userId="2698819e-f51f-4938-ae1b-875ffc6b70b6" providerId="ADAL" clId="{CE5F84DC-FB48-484E-960E-D50E0E4FED98}" dt="2023-03-07T11:11:01.806" v="3298" actId="14861"/>
          <ac:picMkLst>
            <pc:docMk/>
            <pc:sldMk cId="2389000172" sldId="266"/>
            <ac:picMk id="4" creationId="{697B4DFD-F9F9-4A83-ABA8-8D814ADAA84C}"/>
          </ac:picMkLst>
        </pc:picChg>
      </pc:sldChg>
      <pc:sldChg chg="addSp modSp">
        <pc:chgData name="Dimitri Militschenko" userId="2698819e-f51f-4938-ae1b-875ffc6b70b6" providerId="ADAL" clId="{CE5F84DC-FB48-484E-960E-D50E0E4FED98}" dt="2023-03-07T11:18:30.563" v="4719" actId="555"/>
        <pc:sldMkLst>
          <pc:docMk/>
          <pc:sldMk cId="1325671312" sldId="267"/>
        </pc:sldMkLst>
        <pc:spChg chg="mod">
          <ac:chgData name="Dimitri Militschenko" userId="2698819e-f51f-4938-ae1b-875ffc6b70b6" providerId="ADAL" clId="{CE5F84DC-FB48-484E-960E-D50E0E4FED98}" dt="2023-03-07T11:05:37.815" v="1193" actId="113"/>
          <ac:spMkLst>
            <pc:docMk/>
            <pc:sldMk cId="1325671312" sldId="267"/>
            <ac:spMk id="3" creationId="{33ADE9D8-D38A-4351-88F3-E78D2F95414B}"/>
          </ac:spMkLst>
        </pc:spChg>
        <pc:spChg chg="add mod">
          <ac:chgData name="Dimitri Militschenko" userId="2698819e-f51f-4938-ae1b-875ffc6b70b6" providerId="ADAL" clId="{CE5F84DC-FB48-484E-960E-D50E0E4FED98}" dt="2023-03-07T11:18:30.563" v="4719" actId="555"/>
          <ac:spMkLst>
            <pc:docMk/>
            <pc:sldMk cId="1325671312" sldId="267"/>
            <ac:spMk id="10" creationId="{91163916-DCFC-49C1-BEEE-6C87030502C2}"/>
          </ac:spMkLst>
        </pc:spChg>
        <pc:spChg chg="mod">
          <ac:chgData name="Dimitri Militschenko" userId="2698819e-f51f-4938-ae1b-875ffc6b70b6" providerId="ADAL" clId="{CE5F84DC-FB48-484E-960E-D50E0E4FED98}" dt="2023-03-07T10:59:33.312" v="1056" actId="20577"/>
          <ac:spMkLst>
            <pc:docMk/>
            <pc:sldMk cId="1325671312" sldId="267"/>
            <ac:spMk id="11" creationId="{B8906F85-7AA7-487C-A5AD-6406A0AD16C9}"/>
          </ac:spMkLst>
        </pc:spChg>
        <pc:spChg chg="mod">
          <ac:chgData name="Dimitri Militschenko" userId="2698819e-f51f-4938-ae1b-875ffc6b70b6" providerId="ADAL" clId="{CE5F84DC-FB48-484E-960E-D50E0E4FED98}" dt="2023-03-07T11:18:30.563" v="4719" actId="555"/>
          <ac:spMkLst>
            <pc:docMk/>
            <pc:sldMk cId="1325671312" sldId="267"/>
            <ac:spMk id="12" creationId="{A4C187FB-BF2A-42E9-8046-2E55810EA5FE}"/>
          </ac:spMkLst>
        </pc:spChg>
        <pc:picChg chg="mod">
          <ac:chgData name="Dimitri Militschenko" userId="2698819e-f51f-4938-ae1b-875ffc6b70b6" providerId="ADAL" clId="{CE5F84DC-FB48-484E-960E-D50E0E4FED98}" dt="2023-03-07T10:31:31.496" v="417" actId="1076"/>
          <ac:picMkLst>
            <pc:docMk/>
            <pc:sldMk cId="1325671312" sldId="267"/>
            <ac:picMk id="4" creationId="{E5DB18C1-FF95-4085-A97E-89EC374C183C}"/>
          </ac:picMkLst>
        </pc:picChg>
        <pc:picChg chg="mod">
          <ac:chgData name="Dimitri Militschenko" userId="2698819e-f51f-4938-ae1b-875ffc6b70b6" providerId="ADAL" clId="{CE5F84DC-FB48-484E-960E-D50E0E4FED98}" dt="2023-03-07T10:32:51.573" v="451" actId="1076"/>
          <ac:picMkLst>
            <pc:docMk/>
            <pc:sldMk cId="1325671312" sldId="267"/>
            <ac:picMk id="3082" creationId="{19338693-CC4F-4B5F-8F78-36B1E5AEB5F9}"/>
          </ac:picMkLst>
        </pc:picChg>
      </pc:sldChg>
      <pc:sldChg chg="modSp">
        <pc:chgData name="Dimitri Militschenko" userId="2698819e-f51f-4938-ae1b-875ffc6b70b6" providerId="ADAL" clId="{CE5F84DC-FB48-484E-960E-D50E0E4FED98}" dt="2023-03-07T11:05:14.519" v="1188" actId="113"/>
        <pc:sldMkLst>
          <pc:docMk/>
          <pc:sldMk cId="3857656806" sldId="268"/>
        </pc:sldMkLst>
        <pc:spChg chg="mod">
          <ac:chgData name="Dimitri Militschenko" userId="2698819e-f51f-4938-ae1b-875ffc6b70b6" providerId="ADAL" clId="{CE5F84DC-FB48-484E-960E-D50E0E4FED98}" dt="2023-03-07T10:28:21.674" v="286" actId="20577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Dimitri Militschenko" userId="2698819e-f51f-4938-ae1b-875ffc6b70b6" providerId="ADAL" clId="{CE5F84DC-FB48-484E-960E-D50E0E4FED98}" dt="2023-03-07T10:32:19.033" v="433" actId="1076"/>
          <ac:spMkLst>
            <pc:docMk/>
            <pc:sldMk cId="3857656806" sldId="268"/>
            <ac:spMk id="6" creationId="{F022083A-F44D-4E35-8C00-90028792AB02}"/>
          </ac:spMkLst>
        </pc:spChg>
        <pc:spChg chg="mod">
          <ac:chgData name="Dimitri Militschenko" userId="2698819e-f51f-4938-ae1b-875ffc6b70b6" providerId="ADAL" clId="{CE5F84DC-FB48-484E-960E-D50E0E4FED98}" dt="2023-03-07T11:05:14.519" v="1188" actId="113"/>
          <ac:spMkLst>
            <pc:docMk/>
            <pc:sldMk cId="3857656806" sldId="268"/>
            <ac:spMk id="7" creationId="{5415EFE7-4743-4F5B-9F97-0B72861A9A0E}"/>
          </ac:spMkLst>
        </pc:spChg>
        <pc:picChg chg="mod">
          <ac:chgData name="Dimitri Militschenko" userId="2698819e-f51f-4938-ae1b-875ffc6b70b6" providerId="ADAL" clId="{CE5F84DC-FB48-484E-960E-D50E0E4FED98}" dt="2023-03-07T10:24:30.234" v="177" actId="1076"/>
          <ac:picMkLst>
            <pc:docMk/>
            <pc:sldMk cId="3857656806" sldId="268"/>
            <ac:picMk id="5" creationId="{F7CDB726-8FD1-45A1-BC5E-5AECFDDD5C3D}"/>
          </ac:picMkLst>
        </pc:picChg>
        <pc:picChg chg="mod">
          <ac:chgData name="Dimitri Militschenko" userId="2698819e-f51f-4938-ae1b-875ffc6b70b6" providerId="ADAL" clId="{CE5F84DC-FB48-484E-960E-D50E0E4FED98}" dt="2023-03-07T10:24:34.045" v="178" actId="1076"/>
          <ac:picMkLst>
            <pc:docMk/>
            <pc:sldMk cId="3857656806" sldId="268"/>
            <ac:picMk id="8" creationId="{29F79384-8FC9-4F77-9847-6CB8C6076C52}"/>
          </ac:picMkLst>
        </pc:picChg>
      </pc:sldChg>
      <pc:sldChg chg="addSp delSp modSp">
        <pc:chgData name="Dimitri Militschenko" userId="2698819e-f51f-4938-ae1b-875ffc6b70b6" providerId="ADAL" clId="{CE5F84DC-FB48-484E-960E-D50E0E4FED98}" dt="2023-03-07T11:06:12.170" v="1222" actId="20577"/>
        <pc:sldMkLst>
          <pc:docMk/>
          <pc:sldMk cId="1595703888" sldId="2147474933"/>
        </pc:sldMkLst>
        <pc:spChg chg="mod ord">
          <ac:chgData name="Dimitri Militschenko" userId="2698819e-f51f-4938-ae1b-875ffc6b70b6" providerId="ADAL" clId="{CE5F84DC-FB48-484E-960E-D50E0E4FED98}" dt="2023-03-07T10:16:47.463" v="132"/>
          <ac:spMkLst>
            <pc:docMk/>
            <pc:sldMk cId="1595703888" sldId="2147474933"/>
            <ac:spMk id="5" creationId="{3095CD59-4895-4C6D-88A7-6ADB9E88D4F5}"/>
          </ac:spMkLst>
        </pc:spChg>
        <pc:spChg chg="mod ord">
          <ac:chgData name="Dimitri Militschenko" userId="2698819e-f51f-4938-ae1b-875ffc6b70b6" providerId="ADAL" clId="{CE5F84DC-FB48-484E-960E-D50E0E4FED98}" dt="2023-03-07T11:06:12.170" v="1222" actId="20577"/>
          <ac:spMkLst>
            <pc:docMk/>
            <pc:sldMk cId="1595703888" sldId="2147474933"/>
            <ac:spMk id="6" creationId="{723E1BD3-552E-49A5-B2A6-1038DF60EC3B}"/>
          </ac:spMkLst>
        </pc:spChg>
        <pc:spChg chg="mod ord">
          <ac:chgData name="Dimitri Militschenko" userId="2698819e-f51f-4938-ae1b-875ffc6b70b6" providerId="ADAL" clId="{CE5F84DC-FB48-484E-960E-D50E0E4FED98}" dt="2023-03-07T10:31:55.763" v="422" actId="14100"/>
          <ac:spMkLst>
            <pc:docMk/>
            <pc:sldMk cId="1595703888" sldId="2147474933"/>
            <ac:spMk id="97" creationId="{9E4F75E8-8225-4FA1-8EA8-1512A38292F4}"/>
          </ac:spMkLst>
        </pc:spChg>
        <pc:spChg chg="mod ord">
          <ac:chgData name="Dimitri Militschenko" userId="2698819e-f51f-4938-ae1b-875ffc6b70b6" providerId="ADAL" clId="{CE5F84DC-FB48-484E-960E-D50E0E4FED98}" dt="2023-03-07T10:32:02.987" v="425" actId="1076"/>
          <ac:spMkLst>
            <pc:docMk/>
            <pc:sldMk cId="1595703888" sldId="2147474933"/>
            <ac:spMk id="98" creationId="{064C2B75-EBEA-4B3D-8FE8-6AD31D2A7F68}"/>
          </ac:spMkLst>
        </pc:spChg>
        <pc:graphicFrameChg chg="mod">
          <ac:chgData name="Dimitri Militschenko" userId="2698819e-f51f-4938-ae1b-875ffc6b70b6" providerId="ADAL" clId="{CE5F84DC-FB48-484E-960E-D50E0E4FED98}" dt="2023-03-07T10:16:49.243" v="136" actId="14826"/>
          <ac:graphicFrameMkLst>
            <pc:docMk/>
            <pc:sldMk cId="1595703888" sldId="2147474933"/>
            <ac:graphicFrameMk id="8" creationId="{35C7A42E-DC1C-4E48-8167-1307E8F0C916}"/>
          </ac:graphicFrameMkLst>
        </pc:graphicFrameChg>
        <pc:picChg chg="add del">
          <ac:chgData name="Dimitri Militschenko" userId="2698819e-f51f-4938-ae1b-875ffc6b70b6" providerId="ADAL" clId="{CE5F84DC-FB48-484E-960E-D50E0E4FED98}" dt="2023-03-07T10:16:54.515" v="138"/>
          <ac:picMkLst>
            <pc:docMk/>
            <pc:sldMk cId="1595703888" sldId="2147474933"/>
            <ac:picMk id="2" creationId="{C481D445-F678-45A7-8CCB-BBEBA13CFF8F}"/>
          </ac:picMkLst>
        </pc:picChg>
        <pc:picChg chg="mod ord">
          <ac:chgData name="Dimitri Militschenko" userId="2698819e-f51f-4938-ae1b-875ffc6b70b6" providerId="ADAL" clId="{CE5F84DC-FB48-484E-960E-D50E0E4FED98}" dt="2023-03-07T10:17:54.405" v="145" actId="465"/>
          <ac:picMkLst>
            <pc:docMk/>
            <pc:sldMk cId="1595703888" sldId="2147474933"/>
            <ac:picMk id="9" creationId="{EAD6C100-6BD1-4360-9C0A-DEBF96B0272F}"/>
          </ac:picMkLst>
        </pc:picChg>
      </pc:sldChg>
      <pc:sldChg chg="modSp">
        <pc:chgData name="Dimitri Militschenko" userId="2698819e-f51f-4938-ae1b-875ffc6b70b6" providerId="ADAL" clId="{CE5F84DC-FB48-484E-960E-D50E0E4FED98}" dt="2023-03-07T11:17:57.030" v="4714" actId="113"/>
        <pc:sldMkLst>
          <pc:docMk/>
          <pc:sldMk cId="40899146" sldId="2147474934"/>
        </pc:sldMkLst>
        <pc:spChg chg="mod">
          <ac:chgData name="Dimitri Militschenko" userId="2698819e-f51f-4938-ae1b-875ffc6b70b6" providerId="ADAL" clId="{CE5F84DC-FB48-484E-960E-D50E0E4FED98}" dt="2023-03-07T11:17:57.030" v="4714" actId="113"/>
          <ac:spMkLst>
            <pc:docMk/>
            <pc:sldMk cId="40899146" sldId="2147474934"/>
            <ac:spMk id="7" creationId="{590103BA-0763-4FFE-A610-DEFAD9577D1C}"/>
          </ac:spMkLst>
        </pc:spChg>
        <pc:spChg chg="mod">
          <ac:chgData name="Dimitri Militschenko" userId="2698819e-f51f-4938-ae1b-875ffc6b70b6" providerId="ADAL" clId="{CE5F84DC-FB48-484E-960E-D50E0E4FED98}" dt="2023-03-07T10:13:33.971" v="108" actId="20577"/>
          <ac:spMkLst>
            <pc:docMk/>
            <pc:sldMk cId="40899146" sldId="2147474934"/>
            <ac:spMk id="10" creationId="{2EFFDFF4-342F-418C-A9AD-BDE15F52149D}"/>
          </ac:spMkLst>
        </pc:spChg>
        <pc:picChg chg="mod">
          <ac:chgData name="Dimitri Militschenko" userId="2698819e-f51f-4938-ae1b-875ffc6b70b6" providerId="ADAL" clId="{CE5F84DC-FB48-484E-960E-D50E0E4FED98}" dt="2023-03-07T10:11:47.480" v="36" actId="14826"/>
          <ac:picMkLst>
            <pc:docMk/>
            <pc:sldMk cId="40899146" sldId="2147474934"/>
            <ac:picMk id="16" creationId="{3EE9F52F-1812-4FA1-BCCF-92E137C8BD26}"/>
          </ac:picMkLst>
        </pc:picChg>
      </pc:sldChg>
      <pc:sldChg chg="addSp delSp modSp add">
        <pc:chgData name="Dimitri Militschenko" userId="2698819e-f51f-4938-ae1b-875ffc6b70b6" providerId="ADAL" clId="{CE5F84DC-FB48-484E-960E-D50E0E4FED98}" dt="2023-03-07T11:25:27.269" v="5009" actId="1076"/>
        <pc:sldMkLst>
          <pc:docMk/>
          <pc:sldMk cId="2397642829" sldId="2147474935"/>
        </pc:sldMkLst>
        <pc:spChg chg="del">
          <ac:chgData name="Dimitri Militschenko" userId="2698819e-f51f-4938-ae1b-875ffc6b70b6" providerId="ADAL" clId="{CE5F84DC-FB48-484E-960E-D50E0E4FED98}" dt="2023-03-07T11:21:44.539" v="4938" actId="478"/>
          <ac:spMkLst>
            <pc:docMk/>
            <pc:sldMk cId="2397642829" sldId="2147474935"/>
            <ac:spMk id="2" creationId="{3BDF313C-C1C2-4291-AE60-0DC76E4E3955}"/>
          </ac:spMkLst>
        </pc:spChg>
        <pc:spChg chg="del">
          <ac:chgData name="Dimitri Militschenko" userId="2698819e-f51f-4938-ae1b-875ffc6b70b6" providerId="ADAL" clId="{CE5F84DC-FB48-484E-960E-D50E0E4FED98}" dt="2023-03-07T11:21:45.820" v="4939" actId="478"/>
          <ac:spMkLst>
            <pc:docMk/>
            <pc:sldMk cId="2397642829" sldId="2147474935"/>
            <ac:spMk id="3" creationId="{084E6130-13E8-4F3B-BB43-E7A6949DCA36}"/>
          </ac:spMkLst>
        </pc:spChg>
        <pc:spChg chg="add mod">
          <ac:chgData name="Dimitri Militschenko" userId="2698819e-f51f-4938-ae1b-875ffc6b70b6" providerId="ADAL" clId="{CE5F84DC-FB48-484E-960E-D50E0E4FED98}" dt="2023-03-07T11:24:32.870" v="4999" actId="1076"/>
          <ac:spMkLst>
            <pc:docMk/>
            <pc:sldMk cId="2397642829" sldId="2147474935"/>
            <ac:spMk id="6" creationId="{D186B75E-DCD5-4541-93F3-4E1B904AC186}"/>
          </ac:spMkLst>
        </pc:spChg>
        <pc:spChg chg="add mod">
          <ac:chgData name="Dimitri Militschenko" userId="2698819e-f51f-4938-ae1b-875ffc6b70b6" providerId="ADAL" clId="{CE5F84DC-FB48-484E-960E-D50E0E4FED98}" dt="2023-03-07T11:25:08.132" v="5006" actId="1076"/>
          <ac:spMkLst>
            <pc:docMk/>
            <pc:sldMk cId="2397642829" sldId="2147474935"/>
            <ac:spMk id="7" creationId="{120D4CB7-9B3C-4841-87E9-2F02325CCE4D}"/>
          </ac:spMkLst>
        </pc:spChg>
        <pc:graphicFrameChg chg="add mod">
          <ac:chgData name="Dimitri Militschenko" userId="2698819e-f51f-4938-ae1b-875ffc6b70b6" providerId="ADAL" clId="{CE5F84DC-FB48-484E-960E-D50E0E4FED98}" dt="2023-03-07T11:21:46.587" v="4951"/>
          <ac:graphicFrameMkLst>
            <pc:docMk/>
            <pc:sldMk cId="2397642829" sldId="2147474935"/>
            <ac:graphicFrameMk id="4" creationId="{B069EC30-71A0-42DA-8FF3-BDDC8C9618CD}"/>
          </ac:graphicFrameMkLst>
        </pc:graphicFrameChg>
        <pc:picChg chg="add mod">
          <ac:chgData name="Dimitri Militschenko" userId="2698819e-f51f-4938-ae1b-875ffc6b70b6" providerId="ADAL" clId="{CE5F84DC-FB48-484E-960E-D50E0E4FED98}" dt="2023-03-07T11:21:54.605" v="4953" actId="1076"/>
          <ac:picMkLst>
            <pc:docMk/>
            <pc:sldMk cId="2397642829" sldId="2147474935"/>
            <ac:picMk id="5" creationId="{735F0E7A-E8DF-438A-91F8-265B98AE2E9D}"/>
          </ac:picMkLst>
        </pc:picChg>
        <pc:picChg chg="add del mod">
          <ac:chgData name="Dimitri Militschenko" userId="2698819e-f51f-4938-ae1b-875ffc6b70b6" providerId="ADAL" clId="{CE5F84DC-FB48-484E-960E-D50E0E4FED98}" dt="2023-03-07T11:24:01.266" v="4968" actId="478"/>
          <ac:picMkLst>
            <pc:docMk/>
            <pc:sldMk cId="2397642829" sldId="2147474935"/>
            <ac:picMk id="8" creationId="{16853F7B-A87C-4E25-9C7B-B52F24461563}"/>
          </ac:picMkLst>
        </pc:picChg>
        <pc:picChg chg="add mod">
          <ac:chgData name="Dimitri Militschenko" userId="2698819e-f51f-4938-ae1b-875ffc6b70b6" providerId="ADAL" clId="{CE5F84DC-FB48-484E-960E-D50E0E4FED98}" dt="2023-03-07T11:25:27.269" v="5009" actId="1076"/>
          <ac:picMkLst>
            <pc:docMk/>
            <pc:sldMk cId="2397642829" sldId="2147474935"/>
            <ac:picMk id="9" creationId="{F31C4063-79A7-48CE-8983-0C5E25BF6E5F}"/>
          </ac:picMkLst>
        </pc:picChg>
      </pc:sldChg>
    </pc:docChg>
  </pc:docChgLst>
  <pc:docChgLst>
    <pc:chgData name="Dimitri Militschenko" userId="2698819e-f51f-4938-ae1b-875ffc6b70b6" providerId="ADAL" clId="{8C1704DA-BB33-4159-ABC0-961DB62B9BE6}"/>
    <pc:docChg chg="undo redo custSel modSld">
      <pc:chgData name="Dimitri Militschenko" userId="2698819e-f51f-4938-ae1b-875ffc6b70b6" providerId="ADAL" clId="{8C1704DA-BB33-4159-ABC0-961DB62B9BE6}" dt="2023-05-05T15:02:14.347" v="3814" actId="1076"/>
      <pc:docMkLst>
        <pc:docMk/>
      </pc:docMkLst>
      <pc:sldChg chg="modSp">
        <pc:chgData name="Dimitri Militschenko" userId="2698819e-f51f-4938-ae1b-875ffc6b70b6" providerId="ADAL" clId="{8C1704DA-BB33-4159-ABC0-961DB62B9BE6}" dt="2023-05-05T10:44:02.469" v="749"/>
        <pc:sldMkLst>
          <pc:docMk/>
          <pc:sldMk cId="1886290154" sldId="260"/>
        </pc:sldMkLst>
        <pc:spChg chg="mod">
          <ac:chgData name="Dimitri Militschenko" userId="2698819e-f51f-4938-ae1b-875ffc6b70b6" providerId="ADAL" clId="{8C1704DA-BB33-4159-ABC0-961DB62B9BE6}" dt="2023-05-05T10:43:57.635" v="742" actId="790"/>
          <ac:spMkLst>
            <pc:docMk/>
            <pc:sldMk cId="1886290154" sldId="260"/>
            <ac:spMk id="4" creationId="{DE95C3E3-719D-4345-B914-4108A41722B1}"/>
          </ac:spMkLst>
        </pc:spChg>
        <pc:spChg chg="mod">
          <ac:chgData name="Dimitri Militschenko" userId="2698819e-f51f-4938-ae1b-875ffc6b70b6" providerId="ADAL" clId="{8C1704DA-BB33-4159-ABC0-961DB62B9BE6}" dt="2023-05-05T10:43:53.605" v="737" actId="790"/>
          <ac:spMkLst>
            <pc:docMk/>
            <pc:sldMk cId="1886290154" sldId="260"/>
            <ac:spMk id="26" creationId="{9DFB2138-DADA-4130-853E-27DCC0204AD1}"/>
          </ac:spMkLst>
        </pc:spChg>
        <pc:spChg chg="mod">
          <ac:chgData name="Dimitri Militschenko" userId="2698819e-f51f-4938-ae1b-875ffc6b70b6" providerId="ADAL" clId="{8C1704DA-BB33-4159-ABC0-961DB62B9BE6}" dt="2023-05-05T10:43:53.605" v="737" actId="790"/>
          <ac:spMkLst>
            <pc:docMk/>
            <pc:sldMk cId="1886290154" sldId="260"/>
            <ac:spMk id="30" creationId="{03B582E9-FDE3-4FDD-849B-1EA667694DBC}"/>
          </ac:spMkLst>
        </pc:spChg>
        <pc:spChg chg="mod">
          <ac:chgData name="Dimitri Militschenko" userId="2698819e-f51f-4938-ae1b-875ffc6b70b6" providerId="ADAL" clId="{8C1704DA-BB33-4159-ABC0-961DB62B9BE6}" dt="2023-05-05T10:43:53.605" v="737" actId="790"/>
          <ac:spMkLst>
            <pc:docMk/>
            <pc:sldMk cId="1886290154" sldId="260"/>
            <ac:spMk id="32" creationId="{9E25B8AD-F507-4E31-9DF6-2F7A478F068D}"/>
          </ac:spMkLst>
        </pc:spChg>
        <pc:spChg chg="mod">
          <ac:chgData name="Dimitri Militschenko" userId="2698819e-f51f-4938-ae1b-875ffc6b70b6" providerId="ADAL" clId="{8C1704DA-BB33-4159-ABC0-961DB62B9BE6}" dt="2023-05-05T10:44:01.971" v="747" actId="790"/>
          <ac:spMkLst>
            <pc:docMk/>
            <pc:sldMk cId="1886290154" sldId="260"/>
            <ac:spMk id="37" creationId="{C5017C0B-3E75-4CB7-B00C-A5A576FD91B3}"/>
          </ac:spMkLst>
        </pc:spChg>
        <pc:spChg chg="mod">
          <ac:chgData name="Dimitri Militschenko" userId="2698819e-f51f-4938-ae1b-875ffc6b70b6" providerId="ADAL" clId="{8C1704DA-BB33-4159-ABC0-961DB62B9BE6}" dt="2023-05-05T10:43:53.605" v="737" actId="790"/>
          <ac:spMkLst>
            <pc:docMk/>
            <pc:sldMk cId="1886290154" sldId="260"/>
            <ac:spMk id="40" creationId="{ED494EC8-0FBC-46AD-BCB6-AFE8A955C729}"/>
          </ac:spMkLst>
        </pc:spChg>
        <pc:spChg chg="mod">
          <ac:chgData name="Dimitri Militschenko" userId="2698819e-f51f-4938-ae1b-875ffc6b70b6" providerId="ADAL" clId="{8C1704DA-BB33-4159-ABC0-961DB62B9BE6}" dt="2023-05-05T10:43:53.605" v="737" actId="790"/>
          <ac:spMkLst>
            <pc:docMk/>
            <pc:sldMk cId="1886290154" sldId="260"/>
            <ac:spMk id="44" creationId="{F9271F09-4292-4BD7-B094-CB404D4B7CAE}"/>
          </ac:spMkLst>
        </pc:spChg>
        <pc:spChg chg="mod">
          <ac:chgData name="Dimitri Militschenko" userId="2698819e-f51f-4938-ae1b-875ffc6b70b6" providerId="ADAL" clId="{8C1704DA-BB33-4159-ABC0-961DB62B9BE6}" dt="2023-05-05T10:43:53.605" v="737" actId="790"/>
          <ac:spMkLst>
            <pc:docMk/>
            <pc:sldMk cId="1886290154" sldId="260"/>
            <ac:spMk id="47" creationId="{BA787FBC-8B4A-4B6D-8B47-8C8B40F989F0}"/>
          </ac:spMkLst>
        </pc:spChg>
        <pc:graphicFrameChg chg="mod">
          <ac:chgData name="Dimitri Militschenko" userId="2698819e-f51f-4938-ae1b-875ffc6b70b6" providerId="ADAL" clId="{8C1704DA-BB33-4159-ABC0-961DB62B9BE6}" dt="2023-05-05T10:44:02.469" v="749"/>
          <ac:graphicFrameMkLst>
            <pc:docMk/>
            <pc:sldMk cId="1886290154" sldId="260"/>
            <ac:graphicFrameMk id="5" creationId="{C92DCF4D-4BF7-44C5-9D27-02C57DD3D07C}"/>
          </ac:graphicFrameMkLst>
        </pc:graphicFrameChg>
      </pc:sldChg>
      <pc:sldChg chg="addSp delSp modSp">
        <pc:chgData name="Dimitri Militschenko" userId="2698819e-f51f-4938-ae1b-875ffc6b70b6" providerId="ADAL" clId="{8C1704DA-BB33-4159-ABC0-961DB62B9BE6}" dt="2023-05-05T10:48:18.919" v="3730"/>
        <pc:sldMkLst>
          <pc:docMk/>
          <pc:sldMk cId="2389000172" sldId="266"/>
        </pc:sldMkLst>
        <pc:spChg chg="mod">
          <ac:chgData name="Dimitri Militschenko" userId="2698819e-f51f-4938-ae1b-875ffc6b70b6" providerId="ADAL" clId="{8C1704DA-BB33-4159-ABC0-961DB62B9BE6}" dt="2023-05-05T10:48:18.906" v="3661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Dimitri Militschenko" userId="2698819e-f51f-4938-ae1b-875ffc6b70b6" providerId="ADAL" clId="{8C1704DA-BB33-4159-ABC0-961DB62B9BE6}" dt="2023-05-05T10:45:40.830" v="1038"/>
          <ac:spMkLst>
            <pc:docMk/>
            <pc:sldMk cId="2389000172" sldId="266"/>
            <ac:spMk id="6" creationId="{15B1D48F-01EA-4716-A363-E3D8E3F06EA2}"/>
          </ac:spMkLst>
        </pc:spChg>
        <pc:spChg chg="add del mod">
          <ac:chgData name="Dimitri Militschenko" userId="2698819e-f51f-4938-ae1b-875ffc6b70b6" providerId="ADAL" clId="{8C1704DA-BB33-4159-ABC0-961DB62B9BE6}" dt="2023-05-05T10:45:40.374" v="994" actId="139"/>
          <ac:spMkLst>
            <pc:docMk/>
            <pc:sldMk cId="2389000172" sldId="266"/>
            <ac:spMk id="8" creationId="{FF31E2B0-AD10-439B-B84B-AFE3EA8F79B2}"/>
          </ac:spMkLst>
        </pc:spChg>
        <pc:spChg chg="add del mod">
          <ac:chgData name="Dimitri Militschenko" userId="2698819e-f51f-4938-ae1b-875ffc6b70b6" providerId="ADAL" clId="{8C1704DA-BB33-4159-ABC0-961DB62B9BE6}" dt="2023-05-05T10:45:48.133" v="1126"/>
          <ac:spMkLst>
            <pc:docMk/>
            <pc:sldMk cId="2389000172" sldId="266"/>
            <ac:spMk id="9" creationId="{FFD25207-0A29-4AAA-B38C-CDA7F684044C}"/>
          </ac:spMkLst>
        </pc:spChg>
        <pc:spChg chg="add del mod">
          <ac:chgData name="Dimitri Militschenko" userId="2698819e-f51f-4938-ae1b-875ffc6b70b6" providerId="ADAL" clId="{8C1704DA-BB33-4159-ABC0-961DB62B9BE6}" dt="2023-05-05T10:45:50.114" v="1232"/>
          <ac:spMkLst>
            <pc:docMk/>
            <pc:sldMk cId="2389000172" sldId="266"/>
            <ac:spMk id="10" creationId="{0C66DE6E-75C5-4AFE-8003-77FE19B6C3E0}"/>
          </ac:spMkLst>
        </pc:spChg>
        <pc:spChg chg="add del mod">
          <ac:chgData name="Dimitri Militschenko" userId="2698819e-f51f-4938-ae1b-875ffc6b70b6" providerId="ADAL" clId="{8C1704DA-BB33-4159-ABC0-961DB62B9BE6}" dt="2023-05-05T10:46:10.263" v="1340"/>
          <ac:spMkLst>
            <pc:docMk/>
            <pc:sldMk cId="2389000172" sldId="266"/>
            <ac:spMk id="11" creationId="{80E12CEB-EF92-40CF-A112-4DA8FD48E886}"/>
          </ac:spMkLst>
        </pc:spChg>
        <pc:spChg chg="add del mod">
          <ac:chgData name="Dimitri Militschenko" userId="2698819e-f51f-4938-ae1b-875ffc6b70b6" providerId="ADAL" clId="{8C1704DA-BB33-4159-ABC0-961DB62B9BE6}" dt="2023-05-05T10:46:10.866" v="1446"/>
          <ac:spMkLst>
            <pc:docMk/>
            <pc:sldMk cId="2389000172" sldId="266"/>
            <ac:spMk id="12" creationId="{D4BCC5E3-49BA-4AEC-977A-633B1D08A30D}"/>
          </ac:spMkLst>
        </pc:spChg>
        <pc:spChg chg="add del mod">
          <ac:chgData name="Dimitri Militschenko" userId="2698819e-f51f-4938-ae1b-875ffc6b70b6" providerId="ADAL" clId="{8C1704DA-BB33-4159-ABC0-961DB62B9BE6}" dt="2023-05-05T10:46:11.807" v="1552"/>
          <ac:spMkLst>
            <pc:docMk/>
            <pc:sldMk cId="2389000172" sldId="266"/>
            <ac:spMk id="13" creationId="{4BCF3E8E-B022-46D6-89D3-9CD414EEDC70}"/>
          </ac:spMkLst>
        </pc:spChg>
        <pc:spChg chg="add del mod">
          <ac:chgData name="Dimitri Militschenko" userId="2698819e-f51f-4938-ae1b-875ffc6b70b6" providerId="ADAL" clId="{8C1704DA-BB33-4159-ABC0-961DB62B9BE6}" dt="2023-05-05T10:46:12.514" v="1658"/>
          <ac:spMkLst>
            <pc:docMk/>
            <pc:sldMk cId="2389000172" sldId="266"/>
            <ac:spMk id="14" creationId="{B774C248-AE07-45C6-909D-1046C7C26B1E}"/>
          </ac:spMkLst>
        </pc:spChg>
        <pc:spChg chg="add del mod">
          <ac:chgData name="Dimitri Militschenko" userId="2698819e-f51f-4938-ae1b-875ffc6b70b6" providerId="ADAL" clId="{8C1704DA-BB33-4159-ABC0-961DB62B9BE6}" dt="2023-05-05T10:46:14.632" v="1765"/>
          <ac:spMkLst>
            <pc:docMk/>
            <pc:sldMk cId="2389000172" sldId="266"/>
            <ac:spMk id="15" creationId="{5C8A4A65-E0AB-4B17-A729-F542DD68B087}"/>
          </ac:spMkLst>
        </pc:spChg>
        <pc:spChg chg="add del mod">
          <ac:chgData name="Dimitri Militschenko" userId="2698819e-f51f-4938-ae1b-875ffc6b70b6" providerId="ADAL" clId="{8C1704DA-BB33-4159-ABC0-961DB62B9BE6}" dt="2023-05-05T10:46:18.099" v="1871"/>
          <ac:spMkLst>
            <pc:docMk/>
            <pc:sldMk cId="2389000172" sldId="266"/>
            <ac:spMk id="16" creationId="{7E184948-FFCB-43D4-B322-DA91337E6EB7}"/>
          </ac:spMkLst>
        </pc:spChg>
        <pc:spChg chg="add del mod">
          <ac:chgData name="Dimitri Militschenko" userId="2698819e-f51f-4938-ae1b-875ffc6b70b6" providerId="ADAL" clId="{8C1704DA-BB33-4159-ABC0-961DB62B9BE6}" dt="2023-05-05T10:46:49.403" v="1977"/>
          <ac:spMkLst>
            <pc:docMk/>
            <pc:sldMk cId="2389000172" sldId="266"/>
            <ac:spMk id="17" creationId="{5FFE947E-586E-4DBA-AA04-4DDE04CE48BA}"/>
          </ac:spMkLst>
        </pc:spChg>
        <pc:spChg chg="add del mod">
          <ac:chgData name="Dimitri Militschenko" userId="2698819e-f51f-4938-ae1b-875ffc6b70b6" providerId="ADAL" clId="{8C1704DA-BB33-4159-ABC0-961DB62B9BE6}" dt="2023-05-05T10:46:51.985" v="2095"/>
          <ac:spMkLst>
            <pc:docMk/>
            <pc:sldMk cId="2389000172" sldId="266"/>
            <ac:spMk id="18" creationId="{20CB857C-4981-46BF-984D-5A5ACC2821A6}"/>
          </ac:spMkLst>
        </pc:spChg>
        <pc:spChg chg="add del mod">
          <ac:chgData name="Dimitri Militschenko" userId="2698819e-f51f-4938-ae1b-875ffc6b70b6" providerId="ADAL" clId="{8C1704DA-BB33-4159-ABC0-961DB62B9BE6}" dt="2023-05-05T10:47:32.332" v="2203"/>
          <ac:spMkLst>
            <pc:docMk/>
            <pc:sldMk cId="2389000172" sldId="266"/>
            <ac:spMk id="19" creationId="{D521C92F-DD0B-4936-B6BA-AA288CF3EAB0}"/>
          </ac:spMkLst>
        </pc:spChg>
        <pc:spChg chg="add del mod">
          <ac:chgData name="Dimitri Militschenko" userId="2698819e-f51f-4938-ae1b-875ffc6b70b6" providerId="ADAL" clId="{8C1704DA-BB33-4159-ABC0-961DB62B9BE6}" dt="2023-05-05T10:47:34.261" v="2314"/>
          <ac:spMkLst>
            <pc:docMk/>
            <pc:sldMk cId="2389000172" sldId="266"/>
            <ac:spMk id="20" creationId="{172C1F69-93C0-4115-9536-FADE1B0FE5E9}"/>
          </ac:spMkLst>
        </pc:spChg>
        <pc:spChg chg="add del mod">
          <ac:chgData name="Dimitri Militschenko" userId="2698819e-f51f-4938-ae1b-875ffc6b70b6" providerId="ADAL" clId="{8C1704DA-BB33-4159-ABC0-961DB62B9BE6}" dt="2023-05-05T10:48:17.989" v="3431" actId="478"/>
          <ac:spMkLst>
            <pc:docMk/>
            <pc:sldMk cId="2389000172" sldId="266"/>
            <ac:spMk id="21" creationId="{D3DEA0CE-6EC0-480A-8575-A47402CA1B7B}"/>
          </ac:spMkLst>
        </pc:spChg>
        <pc:spChg chg="add del mod">
          <ac:chgData name="Dimitri Militschenko" userId="2698819e-f51f-4938-ae1b-875ffc6b70b6" providerId="ADAL" clId="{8C1704DA-BB33-4159-ABC0-961DB62B9BE6}" dt="2023-05-05T10:48:18.189" v="3502" actId="478"/>
          <ac:spMkLst>
            <pc:docMk/>
            <pc:sldMk cId="2389000172" sldId="266"/>
            <ac:spMk id="22" creationId="{715ED0B2-1A38-4EAD-A1A0-0911D3417999}"/>
          </ac:spMkLst>
        </pc:spChg>
        <pc:spChg chg="add del mod">
          <ac:chgData name="Dimitri Militschenko" userId="2698819e-f51f-4938-ae1b-875ffc6b70b6" providerId="ADAL" clId="{8C1704DA-BB33-4159-ABC0-961DB62B9BE6}" dt="2023-05-05T10:48:18.349" v="3543" actId="478"/>
          <ac:spMkLst>
            <pc:docMk/>
            <pc:sldMk cId="2389000172" sldId="266"/>
            <ac:spMk id="23" creationId="{DC0E446B-96B6-4BAC-8B55-FCDDC5AF2C81}"/>
          </ac:spMkLst>
        </pc:spChg>
        <pc:spChg chg="add del mod">
          <ac:chgData name="Dimitri Militschenko" userId="2698819e-f51f-4938-ae1b-875ffc6b70b6" providerId="ADAL" clId="{8C1704DA-BB33-4159-ABC0-961DB62B9BE6}" dt="2023-05-05T10:48:18.493" v="3584" actId="478"/>
          <ac:spMkLst>
            <pc:docMk/>
            <pc:sldMk cId="2389000172" sldId="266"/>
            <ac:spMk id="24" creationId="{8FFE0B10-19F1-4FFD-946A-56A8EBB16A07}"/>
          </ac:spMkLst>
        </pc:spChg>
        <pc:spChg chg="add del mod">
          <ac:chgData name="Dimitri Militschenko" userId="2698819e-f51f-4938-ae1b-875ffc6b70b6" providerId="ADAL" clId="{8C1704DA-BB33-4159-ABC0-961DB62B9BE6}" dt="2023-05-05T10:48:18.651" v="3655" actId="478"/>
          <ac:spMkLst>
            <pc:docMk/>
            <pc:sldMk cId="2389000172" sldId="266"/>
            <ac:spMk id="25" creationId="{EB7C1EC5-115A-468C-B7A1-5445BD742870}"/>
          </ac:spMkLst>
        </pc:spChg>
        <pc:spChg chg="add del mod">
          <ac:chgData name="Dimitri Militschenko" userId="2698819e-f51f-4938-ae1b-875ffc6b70b6" providerId="ADAL" clId="{8C1704DA-BB33-4159-ABC0-961DB62B9BE6}" dt="2023-05-05T10:48:18.913" v="3726" actId="478"/>
          <ac:spMkLst>
            <pc:docMk/>
            <pc:sldMk cId="2389000172" sldId="266"/>
            <ac:spMk id="26" creationId="{D26419FC-2BDD-4EB8-8A01-BE8A2CFE0A42}"/>
          </ac:spMkLst>
        </pc:spChg>
        <pc:spChg chg="add del mod">
          <ac:chgData name="Dimitri Militschenko" userId="2698819e-f51f-4938-ae1b-875ffc6b70b6" providerId="ADAL" clId="{8C1704DA-BB33-4159-ABC0-961DB62B9BE6}" dt="2023-05-05T10:48:14.649" v="2926" actId="139"/>
          <ac:spMkLst>
            <pc:docMk/>
            <pc:sldMk cId="2389000172" sldId="266"/>
            <ac:spMk id="27" creationId="{13BDC91D-5FD8-40CD-B720-DBACB73E6EDD}"/>
          </ac:spMkLst>
        </pc:spChg>
        <pc:graphicFrameChg chg="mod">
          <ac:chgData name="Dimitri Militschenko" userId="2698819e-f51f-4938-ae1b-875ffc6b70b6" providerId="ADAL" clId="{8C1704DA-BB33-4159-ABC0-961DB62B9BE6}" dt="2023-05-05T10:48:18.919" v="3730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addSp delSp modSp">
        <pc:chgData name="Dimitri Militschenko" userId="2698819e-f51f-4938-ae1b-875ffc6b70b6" providerId="ADAL" clId="{8C1704DA-BB33-4159-ABC0-961DB62B9BE6}" dt="2023-05-05T15:02:14.347" v="3814" actId="1076"/>
        <pc:sldMkLst>
          <pc:docMk/>
          <pc:sldMk cId="1325671312" sldId="267"/>
        </pc:sldMkLst>
        <pc:spChg chg="mod">
          <ac:chgData name="Dimitri Militschenko" userId="2698819e-f51f-4938-ae1b-875ffc6b70b6" providerId="ADAL" clId="{8C1704DA-BB33-4159-ABC0-961DB62B9BE6}" dt="2023-05-05T10:44:22.045" v="762" actId="790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Dimitri Militschenko" userId="2698819e-f51f-4938-ae1b-875ffc6b70b6" providerId="ADAL" clId="{8C1704DA-BB33-4159-ABC0-961DB62B9BE6}" dt="2023-05-05T10:44:27.014" v="767" actId="790"/>
          <ac:spMkLst>
            <pc:docMk/>
            <pc:sldMk cId="1325671312" sldId="267"/>
            <ac:spMk id="3" creationId="{33ADE9D8-D38A-4351-88F3-E78D2F95414B}"/>
          </ac:spMkLst>
        </pc:spChg>
        <pc:spChg chg="del">
          <ac:chgData name="Dimitri Militschenko" userId="2698819e-f51f-4938-ae1b-875ffc6b70b6" providerId="ADAL" clId="{8C1704DA-BB33-4159-ABC0-961DB62B9BE6}" dt="2023-05-05T15:01:26.264" v="3804" actId="478"/>
          <ac:spMkLst>
            <pc:docMk/>
            <pc:sldMk cId="1325671312" sldId="267"/>
            <ac:spMk id="8" creationId="{9F3D3D85-F99C-4924-9F03-F9A6DB5BF6D3}"/>
          </ac:spMkLst>
        </pc:spChg>
        <pc:spChg chg="del">
          <ac:chgData name="Dimitri Militschenko" userId="2698819e-f51f-4938-ae1b-875ffc6b70b6" providerId="ADAL" clId="{8C1704DA-BB33-4159-ABC0-961DB62B9BE6}" dt="2023-05-05T15:01:25.682" v="3803" actId="478"/>
          <ac:spMkLst>
            <pc:docMk/>
            <pc:sldMk cId="1325671312" sldId="267"/>
            <ac:spMk id="10" creationId="{91163916-DCFC-49C1-BEEE-6C87030502C2}"/>
          </ac:spMkLst>
        </pc:spChg>
        <pc:spChg chg="mod">
          <ac:chgData name="Dimitri Militschenko" userId="2698819e-f51f-4938-ae1b-875ffc6b70b6" providerId="ADAL" clId="{8C1704DA-BB33-4159-ABC0-961DB62B9BE6}" dt="2023-05-05T10:44:31.589" v="772" actId="790"/>
          <ac:spMkLst>
            <pc:docMk/>
            <pc:sldMk cId="1325671312" sldId="267"/>
            <ac:spMk id="11" creationId="{B8906F85-7AA7-487C-A5AD-6406A0AD16C9}"/>
          </ac:spMkLst>
        </pc:spChg>
        <pc:spChg chg="del">
          <ac:chgData name="Dimitri Militschenko" userId="2698819e-f51f-4938-ae1b-875ffc6b70b6" providerId="ADAL" clId="{8C1704DA-BB33-4159-ABC0-961DB62B9BE6}" dt="2023-05-05T15:01:26.836" v="3805" actId="478"/>
          <ac:spMkLst>
            <pc:docMk/>
            <pc:sldMk cId="1325671312" sldId="267"/>
            <ac:spMk id="12" creationId="{A4C187FB-BF2A-42E9-8046-2E55810EA5FE}"/>
          </ac:spMkLst>
        </pc:spChg>
        <pc:spChg chg="add mod">
          <ac:chgData name="Dimitri Militschenko" userId="2698819e-f51f-4938-ae1b-875ffc6b70b6" providerId="ADAL" clId="{8C1704DA-BB33-4159-ABC0-961DB62B9BE6}" dt="2023-05-05T15:02:14.347" v="3814" actId="1076"/>
          <ac:spMkLst>
            <pc:docMk/>
            <pc:sldMk cId="1325671312" sldId="267"/>
            <ac:spMk id="14" creationId="{439B9EB0-C7C6-46EF-8E37-937E69B3C38F}"/>
          </ac:spMkLst>
        </pc:spChg>
        <pc:spChg chg="add mod">
          <ac:chgData name="Dimitri Militschenko" userId="2698819e-f51f-4938-ae1b-875ffc6b70b6" providerId="ADAL" clId="{8C1704DA-BB33-4159-ABC0-961DB62B9BE6}" dt="2023-05-05T15:02:11.079" v="3813" actId="1076"/>
          <ac:spMkLst>
            <pc:docMk/>
            <pc:sldMk cId="1325671312" sldId="267"/>
            <ac:spMk id="15" creationId="{419A9726-E01F-4E63-9F04-1A58951949DB}"/>
          </ac:spMkLst>
        </pc:spChg>
        <pc:graphicFrameChg chg="mod">
          <ac:chgData name="Dimitri Militschenko" userId="2698819e-f51f-4938-ae1b-875ffc6b70b6" providerId="ADAL" clId="{8C1704DA-BB33-4159-ABC0-961DB62B9BE6}" dt="2023-05-05T10:44:32.088" v="774"/>
          <ac:graphicFrameMkLst>
            <pc:docMk/>
            <pc:sldMk cId="1325671312" sldId="267"/>
            <ac:graphicFrameMk id="5" creationId="{64026435-EBB0-4353-A250-22744CAEB0F0}"/>
          </ac:graphicFrameMkLst>
        </pc:graphicFrameChg>
        <pc:picChg chg="add del">
          <ac:chgData name="Dimitri Militschenko" userId="2698819e-f51f-4938-ae1b-875ffc6b70b6" providerId="ADAL" clId="{8C1704DA-BB33-4159-ABC0-961DB62B9BE6}" dt="2023-05-05T15:01:24.624" v="3802" actId="478"/>
          <ac:picMkLst>
            <pc:docMk/>
            <pc:sldMk cId="1325671312" sldId="267"/>
            <ac:picMk id="4" creationId="{E5DB18C1-FF95-4085-A97E-89EC374C183C}"/>
          </ac:picMkLst>
        </pc:picChg>
        <pc:picChg chg="add mod">
          <ac:chgData name="Dimitri Militschenko" userId="2698819e-f51f-4938-ae1b-875ffc6b70b6" providerId="ADAL" clId="{8C1704DA-BB33-4159-ABC0-961DB62B9BE6}" dt="2023-05-05T15:02:00.844" v="3811" actId="14826"/>
          <ac:picMkLst>
            <pc:docMk/>
            <pc:sldMk cId="1325671312" sldId="267"/>
            <ac:picMk id="13" creationId="{1119C5B3-039B-4073-BBA6-C6D39D360CC7}"/>
          </ac:picMkLst>
        </pc:picChg>
      </pc:sldChg>
      <pc:sldChg chg="addSp delSp modSp">
        <pc:chgData name="Dimitri Militschenko" userId="2698819e-f51f-4938-ae1b-875ffc6b70b6" providerId="ADAL" clId="{8C1704DA-BB33-4159-ABC0-961DB62B9BE6}" dt="2023-05-05T15:01:02.598" v="3799" actId="1076"/>
        <pc:sldMkLst>
          <pc:docMk/>
          <pc:sldMk cId="3857656806" sldId="268"/>
        </pc:sldMkLst>
        <pc:spChg chg="mod">
          <ac:chgData name="Dimitri Militschenko" userId="2698819e-f51f-4938-ae1b-875ffc6b70b6" providerId="ADAL" clId="{8C1704DA-BB33-4159-ABC0-961DB62B9BE6}" dt="2023-05-05T10:44:37.857" v="777" actId="790"/>
          <ac:spMkLst>
            <pc:docMk/>
            <pc:sldMk cId="3857656806" sldId="268"/>
            <ac:spMk id="4" creationId="{9ABB5680-89F6-44F1-B670-54B4F1CD8F8D}"/>
          </ac:spMkLst>
        </pc:spChg>
        <pc:spChg chg="del">
          <ac:chgData name="Dimitri Militschenko" userId="2698819e-f51f-4938-ae1b-875ffc6b70b6" providerId="ADAL" clId="{8C1704DA-BB33-4159-ABC0-961DB62B9BE6}" dt="2023-05-05T15:00:24.037" v="3796" actId="478"/>
          <ac:spMkLst>
            <pc:docMk/>
            <pc:sldMk cId="3857656806" sldId="268"/>
            <ac:spMk id="6" creationId="{F022083A-F44D-4E35-8C00-90028792AB02}"/>
          </ac:spMkLst>
        </pc:spChg>
        <pc:spChg chg="mod">
          <ac:chgData name="Dimitri Militschenko" userId="2698819e-f51f-4938-ae1b-875ffc6b70b6" providerId="ADAL" clId="{8C1704DA-BB33-4159-ABC0-961DB62B9BE6}" dt="2023-05-05T10:35:57.599" v="217" actId="113"/>
          <ac:spMkLst>
            <pc:docMk/>
            <pc:sldMk cId="3857656806" sldId="268"/>
            <ac:spMk id="7" creationId="{5415EFE7-4743-4F5B-9F97-0B72861A9A0E}"/>
          </ac:spMkLst>
        </pc:spChg>
        <pc:spChg chg="add mod">
          <ac:chgData name="Dimitri Militschenko" userId="2698819e-f51f-4938-ae1b-875ffc6b70b6" providerId="ADAL" clId="{8C1704DA-BB33-4159-ABC0-961DB62B9BE6}" dt="2023-05-05T15:01:02.598" v="3799" actId="1076"/>
          <ac:spMkLst>
            <pc:docMk/>
            <pc:sldMk cId="3857656806" sldId="268"/>
            <ac:spMk id="10" creationId="{9BBE5E74-5475-4048-BF58-03F172EBAB7D}"/>
          </ac:spMkLst>
        </pc:spChg>
        <pc:graphicFrameChg chg="mod">
          <ac:chgData name="Dimitri Militschenko" userId="2698819e-f51f-4938-ae1b-875ffc6b70b6" providerId="ADAL" clId="{8C1704DA-BB33-4159-ABC0-961DB62B9BE6}" dt="2023-05-05T10:44:38.357" v="779"/>
          <ac:graphicFrameMkLst>
            <pc:docMk/>
            <pc:sldMk cId="3857656806" sldId="268"/>
            <ac:graphicFrameMk id="2" creationId="{933053D3-4431-4B6F-A6DC-AE85B08B2637}"/>
          </ac:graphicFrameMkLst>
        </pc:graphicFrameChg>
        <pc:picChg chg="del">
          <ac:chgData name="Dimitri Militschenko" userId="2698819e-f51f-4938-ae1b-875ffc6b70b6" providerId="ADAL" clId="{8C1704DA-BB33-4159-ABC0-961DB62B9BE6}" dt="2023-05-05T15:00:21.210" v="3794" actId="478"/>
          <ac:picMkLst>
            <pc:docMk/>
            <pc:sldMk cId="3857656806" sldId="268"/>
            <ac:picMk id="5" creationId="{F7CDB726-8FD1-45A1-BC5E-5AECFDDD5C3D}"/>
          </ac:picMkLst>
        </pc:picChg>
        <pc:picChg chg="del">
          <ac:chgData name="Dimitri Militschenko" userId="2698819e-f51f-4938-ae1b-875ffc6b70b6" providerId="ADAL" clId="{8C1704DA-BB33-4159-ABC0-961DB62B9BE6}" dt="2023-05-05T15:00:22.034" v="3795" actId="478"/>
          <ac:picMkLst>
            <pc:docMk/>
            <pc:sldMk cId="3857656806" sldId="268"/>
            <ac:picMk id="8" creationId="{29F79384-8FC9-4F77-9847-6CB8C6076C52}"/>
          </ac:picMkLst>
        </pc:picChg>
        <pc:picChg chg="add mod">
          <ac:chgData name="Dimitri Militschenko" userId="2698819e-f51f-4938-ae1b-875ffc6b70b6" providerId="ADAL" clId="{8C1704DA-BB33-4159-ABC0-961DB62B9BE6}" dt="2023-05-05T15:00:55.702" v="3798" actId="14826"/>
          <ac:picMkLst>
            <pc:docMk/>
            <pc:sldMk cId="3857656806" sldId="268"/>
            <ac:picMk id="9" creationId="{37565AEF-3A9E-4D1E-B726-4A0ECC771C18}"/>
          </ac:picMkLst>
        </pc:picChg>
      </pc:sldChg>
      <pc:sldChg chg="modSp">
        <pc:chgData name="Dimitri Militschenko" userId="2698819e-f51f-4938-ae1b-875ffc6b70b6" providerId="ADAL" clId="{8C1704DA-BB33-4159-ABC0-961DB62B9BE6}" dt="2023-05-05T10:52:33.320" v="3793" actId="1076"/>
        <pc:sldMkLst>
          <pc:docMk/>
          <pc:sldMk cId="1595703888" sldId="2147474933"/>
        </pc:sldMkLst>
        <pc:spChg chg="mod">
          <ac:chgData name="Dimitri Militschenko" userId="2698819e-f51f-4938-ae1b-875ffc6b70b6" providerId="ADAL" clId="{8C1704DA-BB33-4159-ABC0-961DB62B9BE6}" dt="2023-05-05T10:44:44.732" v="782" actId="790"/>
          <ac:spMkLst>
            <pc:docMk/>
            <pc:sldMk cId="1595703888" sldId="2147474933"/>
            <ac:spMk id="5" creationId="{3095CD59-4895-4C6D-88A7-6ADB9E88D4F5}"/>
          </ac:spMkLst>
        </pc:spChg>
        <pc:spChg chg="mod">
          <ac:chgData name="Dimitri Militschenko" userId="2698819e-f51f-4938-ae1b-875ffc6b70b6" providerId="ADAL" clId="{8C1704DA-BB33-4159-ABC0-961DB62B9BE6}" dt="2023-05-05T10:34:02.426" v="110" actId="20577"/>
          <ac:spMkLst>
            <pc:docMk/>
            <pc:sldMk cId="1595703888" sldId="2147474933"/>
            <ac:spMk id="6" creationId="{723E1BD3-552E-49A5-B2A6-1038DF60EC3B}"/>
          </ac:spMkLst>
        </pc:spChg>
        <pc:spChg chg="mod">
          <ac:chgData name="Dimitri Militschenko" userId="2698819e-f51f-4938-ae1b-875ffc6b70b6" providerId="ADAL" clId="{8C1704DA-BB33-4159-ABC0-961DB62B9BE6}" dt="2023-05-05T10:52:33.320" v="3793" actId="1076"/>
          <ac:spMkLst>
            <pc:docMk/>
            <pc:sldMk cId="1595703888" sldId="2147474933"/>
            <ac:spMk id="97" creationId="{9E4F75E8-8225-4FA1-8EA8-1512A38292F4}"/>
          </ac:spMkLst>
        </pc:spChg>
        <pc:spChg chg="mod">
          <ac:chgData name="Dimitri Militschenko" userId="2698819e-f51f-4938-ae1b-875ffc6b70b6" providerId="ADAL" clId="{8C1704DA-BB33-4159-ABC0-961DB62B9BE6}" dt="2023-05-05T10:52:30.870" v="3792" actId="1076"/>
          <ac:spMkLst>
            <pc:docMk/>
            <pc:sldMk cId="1595703888" sldId="2147474933"/>
            <ac:spMk id="98" creationId="{064C2B75-EBEA-4B3D-8FE8-6AD31D2A7F68}"/>
          </ac:spMkLst>
        </pc:spChg>
        <pc:graphicFrameChg chg="mod">
          <ac:chgData name="Dimitri Militschenko" userId="2698819e-f51f-4938-ae1b-875ffc6b70b6" providerId="ADAL" clId="{8C1704DA-BB33-4159-ABC0-961DB62B9BE6}" dt="2023-05-05T10:44:45.254" v="784"/>
          <ac:graphicFrameMkLst>
            <pc:docMk/>
            <pc:sldMk cId="1595703888" sldId="2147474933"/>
            <ac:graphicFrameMk id="8" creationId="{35C7A42E-DC1C-4E48-8167-1307E8F0C916}"/>
          </ac:graphicFrameMkLst>
        </pc:graphicFrameChg>
        <pc:picChg chg="mod">
          <ac:chgData name="Dimitri Militschenko" userId="2698819e-f51f-4938-ae1b-875ffc6b70b6" providerId="ADAL" clId="{8C1704DA-BB33-4159-ABC0-961DB62B9BE6}" dt="2023-05-05T10:52:25.663" v="3791" actId="14826"/>
          <ac:picMkLst>
            <pc:docMk/>
            <pc:sldMk cId="1595703888" sldId="2147474933"/>
            <ac:picMk id="9" creationId="{EAD6C100-6BD1-4360-9C0A-DEBF96B0272F}"/>
          </ac:picMkLst>
        </pc:picChg>
      </pc:sldChg>
      <pc:sldChg chg="modSp">
        <pc:chgData name="Dimitri Militschenko" userId="2698819e-f51f-4938-ae1b-875ffc6b70b6" providerId="ADAL" clId="{8C1704DA-BB33-4159-ABC0-961DB62B9BE6}" dt="2023-05-05T10:45:00.824" v="794"/>
        <pc:sldMkLst>
          <pc:docMk/>
          <pc:sldMk cId="40899146" sldId="2147474934"/>
        </pc:sldMkLst>
        <pc:spChg chg="mod">
          <ac:chgData name="Dimitri Militschenko" userId="2698819e-f51f-4938-ae1b-875ffc6b70b6" providerId="ADAL" clId="{8C1704DA-BB33-4159-ABC0-961DB62B9BE6}" dt="2023-05-05T10:45:00.327" v="792" actId="790"/>
          <ac:spMkLst>
            <pc:docMk/>
            <pc:sldMk cId="40899146" sldId="2147474934"/>
            <ac:spMk id="7" creationId="{590103BA-0763-4FFE-A610-DEFAD9577D1C}"/>
          </ac:spMkLst>
        </pc:spChg>
        <pc:spChg chg="mod">
          <ac:chgData name="Dimitri Militschenko" userId="2698819e-f51f-4938-ae1b-875ffc6b70b6" providerId="ADAL" clId="{8C1704DA-BB33-4159-ABC0-961DB62B9BE6}" dt="2023-05-05T10:44:56.291" v="787" actId="790"/>
          <ac:spMkLst>
            <pc:docMk/>
            <pc:sldMk cId="40899146" sldId="2147474934"/>
            <ac:spMk id="10" creationId="{2EFFDFF4-342F-418C-A9AD-BDE15F52149D}"/>
          </ac:spMkLst>
        </pc:spChg>
        <pc:graphicFrameChg chg="mod">
          <ac:chgData name="Dimitri Militschenko" userId="2698819e-f51f-4938-ae1b-875ffc6b70b6" providerId="ADAL" clId="{8C1704DA-BB33-4159-ABC0-961DB62B9BE6}" dt="2023-05-05T10:45:00.824" v="794"/>
          <ac:graphicFrameMkLst>
            <pc:docMk/>
            <pc:sldMk cId="40899146" sldId="2147474934"/>
            <ac:graphicFrameMk id="5" creationId="{72018189-1E5F-48ED-8E7E-5969ACFC191D}"/>
          </ac:graphicFrameMkLst>
        </pc:graphicFrameChg>
      </pc:sldChg>
      <pc:sldChg chg="modSp">
        <pc:chgData name="Dimitri Militschenko" userId="2698819e-f51f-4938-ae1b-875ffc6b70b6" providerId="ADAL" clId="{8C1704DA-BB33-4159-ABC0-961DB62B9BE6}" dt="2023-05-05T10:48:57.492" v="3788"/>
        <pc:sldMkLst>
          <pc:docMk/>
          <pc:sldMk cId="2397642829" sldId="2147474935"/>
        </pc:sldMkLst>
        <pc:spChg chg="mod">
          <ac:chgData name="Dimitri Militschenko" userId="2698819e-f51f-4938-ae1b-875ffc6b70b6" providerId="ADAL" clId="{8C1704DA-BB33-4159-ABC0-961DB62B9BE6}" dt="2023-05-05T10:48:57.013" v="3786" actId="790"/>
          <ac:spMkLst>
            <pc:docMk/>
            <pc:sldMk cId="2397642829" sldId="2147474935"/>
            <ac:spMk id="7" creationId="{120D4CB7-9B3C-4841-87E9-2F02325CCE4D}"/>
          </ac:spMkLst>
        </pc:spChg>
        <pc:graphicFrameChg chg="mod">
          <ac:chgData name="Dimitri Militschenko" userId="2698819e-f51f-4938-ae1b-875ffc6b70b6" providerId="ADAL" clId="{8C1704DA-BB33-4159-ABC0-961DB62B9BE6}" dt="2023-05-05T10:48:57.492" v="3788"/>
          <ac:graphicFrameMkLst>
            <pc:docMk/>
            <pc:sldMk cId="2397642829" sldId="2147474935"/>
            <ac:graphicFrameMk id="4" creationId="{B069EC30-71A0-42DA-8FF3-BDDC8C9618CD}"/>
          </ac:graphicFrameMkLst>
        </pc:graphicFrameChg>
      </pc:sldChg>
    </pc:docChg>
  </pc:docChgLst>
  <pc:docChgLst>
    <pc:chgData name="Lara Weidemann" userId="d78676d4-96c8-4de9-b65f-ba2c93297340" providerId="ADAL" clId="{B1CD9A4F-B6B2-4C13-A732-75F69A907F21}"/>
    <pc:docChg chg="undo custSel addSld delSld modSld sldOrd">
      <pc:chgData name="Lara Weidemann" userId="d78676d4-96c8-4de9-b65f-ba2c93297340" providerId="ADAL" clId="{B1CD9A4F-B6B2-4C13-A732-75F69A907F21}" dt="2023-03-03T10:56:06.201" v="1137"/>
      <pc:docMkLst>
        <pc:docMk/>
      </pc:docMkLst>
      <pc:sldChg chg="addSp delSp modSp">
        <pc:chgData name="Lara Weidemann" userId="d78676d4-96c8-4de9-b65f-ba2c93297340" providerId="ADAL" clId="{B1CD9A4F-B6B2-4C13-A732-75F69A907F21}" dt="2023-03-03T10:55:29.623" v="1083" actId="2711"/>
        <pc:sldMkLst>
          <pc:docMk/>
          <pc:sldMk cId="1886290154" sldId="260"/>
        </pc:sldMkLst>
        <pc:spChg chg="add del mod">
          <ac:chgData name="Lara Weidemann" userId="d78676d4-96c8-4de9-b65f-ba2c93297340" providerId="ADAL" clId="{B1CD9A4F-B6B2-4C13-A732-75F69A907F21}" dt="2023-03-03T10:35:44.518" v="926"/>
          <ac:spMkLst>
            <pc:docMk/>
            <pc:sldMk cId="1886290154" sldId="260"/>
            <ac:spMk id="2" creationId="{3599555C-FFB6-4176-8975-01CC49A86514}"/>
          </ac:spMkLst>
        </pc:spChg>
        <pc:spChg chg="mod">
          <ac:chgData name="Lara Weidemann" userId="d78676d4-96c8-4de9-b65f-ba2c93297340" providerId="ADAL" clId="{B1CD9A4F-B6B2-4C13-A732-75F69A907F21}" dt="2023-03-03T10:54:00.668" v="1036" actId="948"/>
          <ac:spMkLst>
            <pc:docMk/>
            <pc:sldMk cId="1886290154" sldId="260"/>
            <ac:spMk id="3" creationId="{EC3EC117-F92D-405F-9D8E-BF7C57019C1D}"/>
          </ac:spMkLst>
        </pc:spChg>
        <pc:spChg chg="mod">
          <ac:chgData name="Lara Weidemann" userId="d78676d4-96c8-4de9-b65f-ba2c93297340" providerId="ADAL" clId="{B1CD9A4F-B6B2-4C13-A732-75F69A907F21}" dt="2023-03-03T10:53:51.535" v="1034" actId="1076"/>
          <ac:spMkLst>
            <pc:docMk/>
            <pc:sldMk cId="1886290154" sldId="260"/>
            <ac:spMk id="4" creationId="{DE95C3E3-719D-4345-B914-4108A41722B1}"/>
          </ac:spMkLst>
        </pc:spChg>
        <pc:spChg chg="add del mod">
          <ac:chgData name="Lara Weidemann" userId="d78676d4-96c8-4de9-b65f-ba2c93297340" providerId="ADAL" clId="{B1CD9A4F-B6B2-4C13-A732-75F69A907F21}" dt="2023-03-03T10:35:45.909" v="981"/>
          <ac:spMkLst>
            <pc:docMk/>
            <pc:sldMk cId="1886290154" sldId="260"/>
            <ac:spMk id="7" creationId="{4716C02B-CC1E-41BD-953B-C6C230DEF149}"/>
          </ac:spMkLst>
        </pc:spChg>
        <pc:spChg chg="add del mod">
          <ac:chgData name="Lara Weidemann" userId="d78676d4-96c8-4de9-b65f-ba2c93297340" providerId="ADAL" clId="{B1CD9A4F-B6B2-4C13-A732-75F69A907F21}" dt="2023-03-03T10:35:47.107" v="1023"/>
          <ac:spMkLst>
            <pc:docMk/>
            <pc:sldMk cId="1886290154" sldId="260"/>
            <ac:spMk id="8" creationId="{16C38E28-7710-40D2-9E11-4BDD89496229}"/>
          </ac:spMkLst>
        </pc:spChg>
        <pc:spChg chg="add del mod">
          <ac:chgData name="Lara Weidemann" userId="d78676d4-96c8-4de9-b65f-ba2c93297340" providerId="ADAL" clId="{B1CD9A4F-B6B2-4C13-A732-75F69A907F21}" dt="2023-03-03T10:54:00.690" v="1074"/>
          <ac:spMkLst>
            <pc:docMk/>
            <pc:sldMk cId="1886290154" sldId="260"/>
            <ac:spMk id="9" creationId="{FA7C12BC-C3B6-4A21-8571-F7A336F3FFCD}"/>
          </ac:spMkLst>
        </pc:spChg>
        <pc:spChg chg="mod">
          <ac:chgData name="Lara Weidemann" userId="d78676d4-96c8-4de9-b65f-ba2c93297340" providerId="ADAL" clId="{B1CD9A4F-B6B2-4C13-A732-75F69A907F21}" dt="2023-03-03T10:54:51.697" v="1078" actId="2711"/>
          <ac:spMkLst>
            <pc:docMk/>
            <pc:sldMk cId="1886290154" sldId="260"/>
            <ac:spMk id="30" creationId="{03B582E9-FDE3-4FDD-849B-1EA667694DBC}"/>
          </ac:spMkLst>
        </pc:spChg>
        <pc:spChg chg="mod">
          <ac:chgData name="Lara Weidemann" userId="d78676d4-96c8-4de9-b65f-ba2c93297340" providerId="ADAL" clId="{B1CD9A4F-B6B2-4C13-A732-75F69A907F21}" dt="2023-03-03T10:55:07.649" v="1079" actId="2711"/>
          <ac:spMkLst>
            <pc:docMk/>
            <pc:sldMk cId="1886290154" sldId="260"/>
            <ac:spMk id="31" creationId="{BD70C336-9CDF-460A-8433-F1DA6C33DC52}"/>
          </ac:spMkLst>
        </pc:spChg>
        <pc:spChg chg="mod">
          <ac:chgData name="Lara Weidemann" userId="d78676d4-96c8-4de9-b65f-ba2c93297340" providerId="ADAL" clId="{B1CD9A4F-B6B2-4C13-A732-75F69A907F21}" dt="2023-03-03T10:55:13.020" v="1080" actId="2711"/>
          <ac:spMkLst>
            <pc:docMk/>
            <pc:sldMk cId="1886290154" sldId="260"/>
            <ac:spMk id="33" creationId="{74E9B2F5-CA70-42FA-B664-A55F699C2FEA}"/>
          </ac:spMkLst>
        </pc:spChg>
        <pc:spChg chg="mod">
          <ac:chgData name="Lara Weidemann" userId="d78676d4-96c8-4de9-b65f-ba2c93297340" providerId="ADAL" clId="{B1CD9A4F-B6B2-4C13-A732-75F69A907F21}" dt="2023-03-03T10:55:29.623" v="1083" actId="2711"/>
          <ac:spMkLst>
            <pc:docMk/>
            <pc:sldMk cId="1886290154" sldId="260"/>
            <ac:spMk id="34" creationId="{3C102EE3-D92D-45B1-A1F3-0C10BC136E4D}"/>
          </ac:spMkLst>
        </pc:spChg>
        <pc:spChg chg="mod">
          <ac:chgData name="Lara Weidemann" userId="d78676d4-96c8-4de9-b65f-ba2c93297340" providerId="ADAL" clId="{B1CD9A4F-B6B2-4C13-A732-75F69A907F21}" dt="2023-03-03T10:55:25.077" v="1082" actId="2711"/>
          <ac:spMkLst>
            <pc:docMk/>
            <pc:sldMk cId="1886290154" sldId="260"/>
            <ac:spMk id="35" creationId="{A0E0DBBF-A8B1-4737-8B7D-6DEDB2524007}"/>
          </ac:spMkLst>
        </pc:spChg>
        <pc:spChg chg="mod">
          <ac:chgData name="Lara Weidemann" userId="d78676d4-96c8-4de9-b65f-ba2c93297340" providerId="ADAL" clId="{B1CD9A4F-B6B2-4C13-A732-75F69A907F21}" dt="2023-03-03T10:55:19.529" v="1081" actId="2711"/>
          <ac:spMkLst>
            <pc:docMk/>
            <pc:sldMk cId="1886290154" sldId="260"/>
            <ac:spMk id="36" creationId="{4805ECAF-49E6-4FB8-A0D6-912B16FE8537}"/>
          </ac:spMkLst>
        </pc:spChg>
        <pc:graphicFrameChg chg="add mod ord">
          <ac:chgData name="Lara Weidemann" userId="d78676d4-96c8-4de9-b65f-ba2c93297340" providerId="ADAL" clId="{B1CD9A4F-B6B2-4C13-A732-75F69A907F21}" dt="2023-03-03T10:54:00.691" v="1076"/>
          <ac:graphicFrameMkLst>
            <pc:docMk/>
            <pc:sldMk cId="1886290154" sldId="260"/>
            <ac:graphicFrameMk id="5" creationId="{C92DCF4D-4BF7-44C5-9D27-02C57DD3D07C}"/>
          </ac:graphicFrameMkLst>
        </pc:graphicFrameChg>
        <pc:picChg chg="mod">
          <ac:chgData name="Lara Weidemann" userId="d78676d4-96c8-4de9-b65f-ba2c93297340" providerId="ADAL" clId="{B1CD9A4F-B6B2-4C13-A732-75F69A907F21}" dt="2023-03-03T10:54:14.426" v="1077" actId="14861"/>
          <ac:picMkLst>
            <pc:docMk/>
            <pc:sldMk cId="1886290154" sldId="260"/>
            <ac:picMk id="6" creationId="{EAC58450-8C7C-46FE-B3A1-2AF946881B83}"/>
          </ac:picMkLst>
        </pc:picChg>
        <pc:cxnChg chg="mod">
          <ac:chgData name="Lara Weidemann" userId="d78676d4-96c8-4de9-b65f-ba2c93297340" providerId="ADAL" clId="{B1CD9A4F-B6B2-4C13-A732-75F69A907F21}" dt="2023-03-03T10:55:19.529" v="1081" actId="2711"/>
          <ac:cxnSpMkLst>
            <pc:docMk/>
            <pc:sldMk cId="1886290154" sldId="260"/>
            <ac:cxnSpMk id="21" creationId="{95B7F1B7-A19B-46F8-886A-371078BEAEEC}"/>
          </ac:cxnSpMkLst>
        </pc:cxnChg>
      </pc:sldChg>
      <pc:sldChg chg="addSp delSp modSp">
        <pc:chgData name="Lara Weidemann" userId="d78676d4-96c8-4de9-b65f-ba2c93297340" providerId="ADAL" clId="{B1CD9A4F-B6B2-4C13-A732-75F69A907F21}" dt="2023-03-03T10:56:06.201" v="1137"/>
        <pc:sldMkLst>
          <pc:docMk/>
          <pc:sldMk cId="2389000172" sldId="266"/>
        </pc:sldMkLst>
        <pc:spChg chg="mod">
          <ac:chgData name="Lara Weidemann" userId="d78676d4-96c8-4de9-b65f-ba2c93297340" providerId="ADAL" clId="{B1CD9A4F-B6B2-4C13-A732-75F69A907F21}" dt="2023-03-03T10:56:06.166" v="1085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Lara Weidemann" userId="d78676d4-96c8-4de9-b65f-ba2c93297340" providerId="ADAL" clId="{B1CD9A4F-B6B2-4C13-A732-75F69A907F21}" dt="2023-03-03T10:56:06.186" v="1123"/>
          <ac:spMkLst>
            <pc:docMk/>
            <pc:sldMk cId="2389000172" sldId="266"/>
            <ac:spMk id="6" creationId="{FA09AA87-C9FA-4228-B644-58CB87A7AFDD}"/>
          </ac:spMkLst>
        </pc:spChg>
        <pc:graphicFrameChg chg="add mod ord">
          <ac:chgData name="Lara Weidemann" userId="d78676d4-96c8-4de9-b65f-ba2c93297340" providerId="ADAL" clId="{B1CD9A4F-B6B2-4C13-A732-75F69A907F21}" dt="2023-03-03T10:56:06.201" v="1137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modSp">
        <pc:chgData name="Lara Weidemann" userId="d78676d4-96c8-4de9-b65f-ba2c93297340" providerId="ADAL" clId="{B1CD9A4F-B6B2-4C13-A732-75F69A907F21}" dt="2023-03-03T10:35:18.662" v="886" actId="14100"/>
        <pc:sldMkLst>
          <pc:docMk/>
          <pc:sldMk cId="1325671312" sldId="267"/>
        </pc:sldMkLst>
        <pc:spChg chg="mod">
          <ac:chgData name="Lara Weidemann" userId="d78676d4-96c8-4de9-b65f-ba2c93297340" providerId="ADAL" clId="{B1CD9A4F-B6B2-4C13-A732-75F69A907F21}" dt="2023-03-03T10:33:44.698" v="872" actId="27636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Lara Weidemann" userId="d78676d4-96c8-4de9-b65f-ba2c93297340" providerId="ADAL" clId="{B1CD9A4F-B6B2-4C13-A732-75F69A907F21}" dt="2023-03-03T10:34:28.082" v="878" actId="255"/>
          <ac:spMkLst>
            <pc:docMk/>
            <pc:sldMk cId="1325671312" sldId="267"/>
            <ac:spMk id="3" creationId="{33ADE9D8-D38A-4351-88F3-E78D2F95414B}"/>
          </ac:spMkLst>
        </pc:spChg>
        <pc:spChg chg="mod">
          <ac:chgData name="Lara Weidemann" userId="d78676d4-96c8-4de9-b65f-ba2c93297340" providerId="ADAL" clId="{B1CD9A4F-B6B2-4C13-A732-75F69A907F21}" dt="2023-03-03T10:33:58.852" v="873" actId="2711"/>
          <ac:spMkLst>
            <pc:docMk/>
            <pc:sldMk cId="1325671312" sldId="267"/>
            <ac:spMk id="11" creationId="{B8906F85-7AA7-487C-A5AD-6406A0AD16C9}"/>
          </ac:spMkLst>
        </pc:spChg>
        <pc:spChg chg="mod">
          <ac:chgData name="Lara Weidemann" userId="d78676d4-96c8-4de9-b65f-ba2c93297340" providerId="ADAL" clId="{B1CD9A4F-B6B2-4C13-A732-75F69A907F21}" dt="2023-03-03T10:35:18.662" v="886" actId="14100"/>
          <ac:spMkLst>
            <pc:docMk/>
            <pc:sldMk cId="1325671312" sldId="267"/>
            <ac:spMk id="12" creationId="{A4C187FB-BF2A-42E9-8046-2E55810EA5FE}"/>
          </ac:spMkLst>
        </pc:spChg>
        <pc:picChg chg="mod">
          <ac:chgData name="Lara Weidemann" userId="d78676d4-96c8-4de9-b65f-ba2c93297340" providerId="ADAL" clId="{B1CD9A4F-B6B2-4C13-A732-75F69A907F21}" dt="2023-03-03T10:34:56.402" v="880" actId="1076"/>
          <ac:picMkLst>
            <pc:docMk/>
            <pc:sldMk cId="1325671312" sldId="267"/>
            <ac:picMk id="4" creationId="{E5DB18C1-FF95-4085-A97E-89EC374C183C}"/>
          </ac:picMkLst>
        </pc:picChg>
      </pc:sldChg>
      <pc:sldChg chg="modSp">
        <pc:chgData name="Lara Weidemann" userId="d78676d4-96c8-4de9-b65f-ba2c93297340" providerId="ADAL" clId="{B1CD9A4F-B6B2-4C13-A732-75F69A907F21}" dt="2023-03-03T10:33:16.741" v="863" actId="14100"/>
        <pc:sldMkLst>
          <pc:docMk/>
          <pc:sldMk cId="3857656806" sldId="268"/>
        </pc:sldMkLst>
        <pc:spChg chg="mod">
          <ac:chgData name="Lara Weidemann" userId="d78676d4-96c8-4de9-b65f-ba2c93297340" providerId="ADAL" clId="{B1CD9A4F-B6B2-4C13-A732-75F69A907F21}" dt="2023-03-03T10:31:46.963" v="849" actId="14100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Lara Weidemann" userId="d78676d4-96c8-4de9-b65f-ba2c93297340" providerId="ADAL" clId="{B1CD9A4F-B6B2-4C13-A732-75F69A907F21}" dt="2023-03-03T10:32:26.436" v="854" actId="14100"/>
          <ac:spMkLst>
            <pc:docMk/>
            <pc:sldMk cId="3857656806" sldId="268"/>
            <ac:spMk id="7" creationId="{5415EFE7-4743-4F5B-9F97-0B72861A9A0E}"/>
          </ac:spMkLst>
        </pc:spChg>
        <pc:picChg chg="mod">
          <ac:chgData name="Lara Weidemann" userId="d78676d4-96c8-4de9-b65f-ba2c93297340" providerId="ADAL" clId="{B1CD9A4F-B6B2-4C13-A732-75F69A907F21}" dt="2023-03-03T10:33:16.741" v="863" actId="14100"/>
          <ac:picMkLst>
            <pc:docMk/>
            <pc:sldMk cId="3857656806" sldId="268"/>
            <ac:picMk id="5" creationId="{F7CDB726-8FD1-45A1-BC5E-5AECFDDD5C3D}"/>
          </ac:picMkLst>
        </pc:picChg>
      </pc:sldChg>
    </pc:docChg>
  </pc:docChgLst>
  <pc:docChgLst>
    <pc:chgData name="Dimitri Militschenko" userId="2698819e-f51f-4938-ae1b-875ffc6b70b6" providerId="ADAL" clId="{5A3537E2-8375-48BC-BB1A-7126D922A377}"/>
    <pc:docChg chg="modSld">
      <pc:chgData name="Dimitri Militschenko" userId="2698819e-f51f-4938-ae1b-875ffc6b70b6" providerId="ADAL" clId="{5A3537E2-8375-48BC-BB1A-7126D922A377}" dt="2023-04-27T09:22:06.951" v="81" actId="20577"/>
      <pc:docMkLst>
        <pc:docMk/>
      </pc:docMkLst>
      <pc:sldChg chg="modSp">
        <pc:chgData name="Dimitri Militschenko" userId="2698819e-f51f-4938-ae1b-875ffc6b70b6" providerId="ADAL" clId="{5A3537E2-8375-48BC-BB1A-7126D922A377}" dt="2023-04-27T09:22:06.951" v="81" actId="20577"/>
        <pc:sldMkLst>
          <pc:docMk/>
          <pc:sldMk cId="1886290154" sldId="260"/>
        </pc:sldMkLst>
        <pc:spChg chg="mod">
          <ac:chgData name="Dimitri Militschenko" userId="2698819e-f51f-4938-ae1b-875ffc6b70b6" providerId="ADAL" clId="{5A3537E2-8375-48BC-BB1A-7126D922A377}" dt="2023-04-27T09:20:40.806" v="48" actId="14100"/>
          <ac:spMkLst>
            <pc:docMk/>
            <pc:sldMk cId="1886290154" sldId="260"/>
            <ac:spMk id="26" creationId="{9DFB2138-DADA-4130-853E-27DCC0204AD1}"/>
          </ac:spMkLst>
        </pc:spChg>
        <pc:spChg chg="mod">
          <ac:chgData name="Dimitri Militschenko" userId="2698819e-f51f-4938-ae1b-875ffc6b70b6" providerId="ADAL" clId="{5A3537E2-8375-48BC-BB1A-7126D922A377}" dt="2023-04-27T09:22:06.951" v="81" actId="20577"/>
          <ac:spMkLst>
            <pc:docMk/>
            <pc:sldMk cId="1886290154" sldId="260"/>
            <ac:spMk id="30" creationId="{03B582E9-FDE3-4FDD-849B-1EA667694DBC}"/>
          </ac:spMkLst>
        </pc:spChg>
      </pc:sldChg>
    </pc:docChg>
  </pc:docChgLst>
  <pc:docChgLst>
    <pc:chgData name="Lara Weidemann" userId="d78676d4-96c8-4de9-b65f-ba2c93297340" providerId="ADAL" clId="{4DB2661C-9E3D-4243-8C35-421A4CA6D538}"/>
    <pc:docChg chg="undo custSel addSld delSld modSld">
      <pc:chgData name="Lara Weidemann" userId="d78676d4-96c8-4de9-b65f-ba2c93297340" providerId="ADAL" clId="{4DB2661C-9E3D-4243-8C35-421A4CA6D538}" dt="2023-03-06T14:14:40.584" v="6300" actId="113"/>
      <pc:docMkLst>
        <pc:docMk/>
      </pc:docMkLst>
      <pc:sldChg chg="addSp delSp modSp">
        <pc:chgData name="Lara Weidemann" userId="d78676d4-96c8-4de9-b65f-ba2c93297340" providerId="ADAL" clId="{4DB2661C-9E3D-4243-8C35-421A4CA6D538}" dt="2023-03-06T14:14:40.584" v="6300" actId="113"/>
        <pc:sldMkLst>
          <pc:docMk/>
          <pc:sldMk cId="1886290154" sldId="260"/>
        </pc:sldMkLst>
        <pc:spChg chg="add del mod">
          <ac:chgData name="Lara Weidemann" userId="d78676d4-96c8-4de9-b65f-ba2c93297340" providerId="ADAL" clId="{4DB2661C-9E3D-4243-8C35-421A4CA6D538}" dt="2023-03-06T10:31:01.690" v="3008" actId="478"/>
          <ac:spMkLst>
            <pc:docMk/>
            <pc:sldMk cId="1886290154" sldId="260"/>
            <ac:spMk id="2" creationId="{893604FA-8E55-428E-9379-9D5C826D559A}"/>
          </ac:spMkLst>
        </pc:spChg>
        <pc:spChg chg="add del mod">
          <ac:chgData name="Lara Weidemann" userId="d78676d4-96c8-4de9-b65f-ba2c93297340" providerId="ADAL" clId="{4DB2661C-9E3D-4243-8C35-421A4CA6D538}" dt="2023-03-03T12:12:15.566" v="1046"/>
          <ac:spMkLst>
            <pc:docMk/>
            <pc:sldMk cId="1886290154" sldId="260"/>
            <ac:spMk id="2" creationId="{D47D39B5-9E95-46B1-A0AE-D106BFEC0065}"/>
          </ac:spMkLst>
        </pc:spChg>
        <pc:spChg chg="del mod">
          <ac:chgData name="Lara Weidemann" userId="d78676d4-96c8-4de9-b65f-ba2c93297340" providerId="ADAL" clId="{4DB2661C-9E3D-4243-8C35-421A4CA6D538}" dt="2023-03-06T12:32:21.273" v="3387" actId="478"/>
          <ac:spMkLst>
            <pc:docMk/>
            <pc:sldMk cId="1886290154" sldId="260"/>
            <ac:spMk id="3" creationId="{EC3EC117-F92D-405F-9D8E-BF7C57019C1D}"/>
          </ac:spMkLst>
        </pc:spChg>
        <pc:spChg chg="mod">
          <ac:chgData name="Lara Weidemann" userId="d78676d4-96c8-4de9-b65f-ba2c93297340" providerId="ADAL" clId="{4DB2661C-9E3D-4243-8C35-421A4CA6D538}" dt="2023-03-06T12:41:09.181" v="3430" actId="14100"/>
          <ac:spMkLst>
            <pc:docMk/>
            <pc:sldMk cId="1886290154" sldId="260"/>
            <ac:spMk id="4" creationId="{DE95C3E3-719D-4345-B914-4108A41722B1}"/>
          </ac:spMkLst>
        </pc:spChg>
        <pc:spChg chg="add del mod">
          <ac:chgData name="Lara Weidemann" userId="d78676d4-96c8-4de9-b65f-ba2c93297340" providerId="ADAL" clId="{4DB2661C-9E3D-4243-8C35-421A4CA6D538}" dt="2023-03-06T10:30:55.755" v="3005"/>
          <ac:spMkLst>
            <pc:docMk/>
            <pc:sldMk cId="1886290154" sldId="260"/>
            <ac:spMk id="7" creationId="{BA1FD873-8750-4F1A-B2BC-AA7CA1956E7D}"/>
          </ac:spMkLst>
        </pc:spChg>
        <pc:spChg chg="add del mod">
          <ac:chgData name="Lara Weidemann" userId="d78676d4-96c8-4de9-b65f-ba2c93297340" providerId="ADAL" clId="{4DB2661C-9E3D-4243-8C35-421A4CA6D538}" dt="2023-03-03T12:12:17.991" v="1098"/>
          <ac:spMkLst>
            <pc:docMk/>
            <pc:sldMk cId="1886290154" sldId="260"/>
            <ac:spMk id="7" creationId="{CD8FB195-C510-4AF6-AF24-A9513353D461}"/>
          </ac:spMkLst>
        </pc:spChg>
        <pc:spChg chg="add del mod">
          <ac:chgData name="Lara Weidemann" userId="d78676d4-96c8-4de9-b65f-ba2c93297340" providerId="ADAL" clId="{4DB2661C-9E3D-4243-8C35-421A4CA6D538}" dt="2023-03-03T12:12:24.720" v="1140"/>
          <ac:spMkLst>
            <pc:docMk/>
            <pc:sldMk cId="1886290154" sldId="260"/>
            <ac:spMk id="8" creationId="{16685711-4D52-499A-81FC-05D0E55CA822}"/>
          </ac:spMkLst>
        </pc:spChg>
        <pc:spChg chg="add del mod">
          <ac:chgData name="Lara Weidemann" userId="d78676d4-96c8-4de9-b65f-ba2c93297340" providerId="ADAL" clId="{4DB2661C-9E3D-4243-8C35-421A4CA6D538}" dt="2023-03-06T10:37:24.036" v="3062" actId="478"/>
          <ac:spMkLst>
            <pc:docMk/>
            <pc:sldMk cId="1886290154" sldId="260"/>
            <ac:spMk id="15" creationId="{E7E67813-2BAB-4B04-BF41-4190A0577275}"/>
          </ac:spMkLst>
        </pc:spChg>
        <pc:spChg chg="del mod">
          <ac:chgData name="Lara Weidemann" userId="d78676d4-96c8-4de9-b65f-ba2c93297340" providerId="ADAL" clId="{4DB2661C-9E3D-4243-8C35-421A4CA6D538}" dt="2023-03-06T10:36:25.082" v="3054" actId="478"/>
          <ac:spMkLst>
            <pc:docMk/>
            <pc:sldMk cId="1886290154" sldId="260"/>
            <ac:spMk id="24" creationId="{115A7DFC-839B-4481-AB90-720CB7348465}"/>
          </ac:spMkLst>
        </pc:spChg>
        <pc:spChg chg="del mod">
          <ac:chgData name="Lara Weidemann" userId="d78676d4-96c8-4de9-b65f-ba2c93297340" providerId="ADAL" clId="{4DB2661C-9E3D-4243-8C35-421A4CA6D538}" dt="2023-03-06T12:47:39.448" v="3563" actId="478"/>
          <ac:spMkLst>
            <pc:docMk/>
            <pc:sldMk cId="1886290154" sldId="260"/>
            <ac:spMk id="29" creationId="{37C38B11-0635-46F9-8FC6-979A5A56A649}"/>
          </ac:spMkLst>
        </pc:spChg>
        <pc:spChg chg="mod">
          <ac:chgData name="Lara Weidemann" userId="d78676d4-96c8-4de9-b65f-ba2c93297340" providerId="ADAL" clId="{4DB2661C-9E3D-4243-8C35-421A4CA6D538}" dt="2023-03-06T14:14:12.686" v="6294" actId="113"/>
          <ac:spMkLst>
            <pc:docMk/>
            <pc:sldMk cId="1886290154" sldId="260"/>
            <ac:spMk id="30" creationId="{03B582E9-FDE3-4FDD-849B-1EA667694DBC}"/>
          </ac:spMkLst>
        </pc:spChg>
        <pc:spChg chg="mod">
          <ac:chgData name="Lara Weidemann" userId="d78676d4-96c8-4de9-b65f-ba2c93297340" providerId="ADAL" clId="{4DB2661C-9E3D-4243-8C35-421A4CA6D538}" dt="2023-03-06T14:14:31.986" v="6298" actId="113"/>
          <ac:spMkLst>
            <pc:docMk/>
            <pc:sldMk cId="1886290154" sldId="260"/>
            <ac:spMk id="31" creationId="{BD70C336-9CDF-460A-8433-F1DA6C33DC52}"/>
          </ac:spMkLst>
        </pc:spChg>
        <pc:spChg chg="mod">
          <ac:chgData name="Lara Weidemann" userId="d78676d4-96c8-4de9-b65f-ba2c93297340" providerId="ADAL" clId="{4DB2661C-9E3D-4243-8C35-421A4CA6D538}" dt="2023-03-06T14:14:36.124" v="6299" actId="113"/>
          <ac:spMkLst>
            <pc:docMk/>
            <pc:sldMk cId="1886290154" sldId="260"/>
            <ac:spMk id="33" creationId="{74E9B2F5-CA70-42FA-B664-A55F699C2FEA}"/>
          </ac:spMkLst>
        </pc:spChg>
        <pc:spChg chg="mod">
          <ac:chgData name="Lara Weidemann" userId="d78676d4-96c8-4de9-b65f-ba2c93297340" providerId="ADAL" clId="{4DB2661C-9E3D-4243-8C35-421A4CA6D538}" dt="2023-03-06T14:14:40.584" v="6300" actId="113"/>
          <ac:spMkLst>
            <pc:docMk/>
            <pc:sldMk cId="1886290154" sldId="260"/>
            <ac:spMk id="34" creationId="{3C102EE3-D92D-45B1-A1F3-0C10BC136E4D}"/>
          </ac:spMkLst>
        </pc:spChg>
        <pc:spChg chg="mod">
          <ac:chgData name="Lara Weidemann" userId="d78676d4-96c8-4de9-b65f-ba2c93297340" providerId="ADAL" clId="{4DB2661C-9E3D-4243-8C35-421A4CA6D538}" dt="2023-03-06T14:14:27.177" v="6296" actId="113"/>
          <ac:spMkLst>
            <pc:docMk/>
            <pc:sldMk cId="1886290154" sldId="260"/>
            <ac:spMk id="35" creationId="{A0E0DBBF-A8B1-4737-8B7D-6DEDB2524007}"/>
          </ac:spMkLst>
        </pc:spChg>
        <pc:spChg chg="mod">
          <ac:chgData name="Lara Weidemann" userId="d78676d4-96c8-4de9-b65f-ba2c93297340" providerId="ADAL" clId="{4DB2661C-9E3D-4243-8C35-421A4CA6D538}" dt="2023-03-06T14:14:20.480" v="6295" actId="113"/>
          <ac:spMkLst>
            <pc:docMk/>
            <pc:sldMk cId="1886290154" sldId="260"/>
            <ac:spMk id="36" creationId="{4805ECAF-49E6-4FB8-A0D6-912B16FE8537}"/>
          </ac:spMkLst>
        </pc:spChg>
        <pc:spChg chg="add mod">
          <ac:chgData name="Lara Weidemann" userId="d78676d4-96c8-4de9-b65f-ba2c93297340" providerId="ADAL" clId="{4DB2661C-9E3D-4243-8C35-421A4CA6D538}" dt="2023-03-06T12:32:56.001" v="3416" actId="1076"/>
          <ac:spMkLst>
            <pc:docMk/>
            <pc:sldMk cId="1886290154" sldId="260"/>
            <ac:spMk id="37" creationId="{C5017C0B-3E75-4CB7-B00C-A5A576FD91B3}"/>
          </ac:spMkLst>
        </pc:spChg>
        <pc:spChg chg="add del mod">
          <ac:chgData name="Lara Weidemann" userId="d78676d4-96c8-4de9-b65f-ba2c93297340" providerId="ADAL" clId="{4DB2661C-9E3D-4243-8C35-421A4CA6D538}" dt="2023-03-06T12:32:24.843" v="3390" actId="478"/>
          <ac:spMkLst>
            <pc:docMk/>
            <pc:sldMk cId="1886290154" sldId="260"/>
            <ac:spMk id="38" creationId="{E4991660-051A-444D-80CA-6BD8450069C5}"/>
          </ac:spMkLst>
        </pc:spChg>
        <pc:graphicFrameChg chg="mod">
          <ac:chgData name="Lara Weidemann" userId="d78676d4-96c8-4de9-b65f-ba2c93297340" providerId="ADAL" clId="{4DB2661C-9E3D-4243-8C35-421A4CA6D538}" dt="2023-03-06T12:32:25.343" v="3392"/>
          <ac:graphicFrameMkLst>
            <pc:docMk/>
            <pc:sldMk cId="1886290154" sldId="260"/>
            <ac:graphicFrameMk id="5" creationId="{C92DCF4D-4BF7-44C5-9D27-02C57DD3D07C}"/>
          </ac:graphicFrameMkLst>
        </pc:graphicFrameChg>
        <pc:picChg chg="mod">
          <ac:chgData name="Lara Weidemann" userId="d78676d4-96c8-4de9-b65f-ba2c93297340" providerId="ADAL" clId="{4DB2661C-9E3D-4243-8C35-421A4CA6D538}" dt="2023-03-06T12:47:56.192" v="3580" actId="1035"/>
          <ac:picMkLst>
            <pc:docMk/>
            <pc:sldMk cId="1886290154" sldId="260"/>
            <ac:picMk id="6" creationId="{EAC58450-8C7C-46FE-B3A1-2AF946881B83}"/>
          </ac:picMkLst>
        </pc:picChg>
        <pc:cxnChg chg="mod">
          <ac:chgData name="Lara Weidemann" userId="d78676d4-96c8-4de9-b65f-ba2c93297340" providerId="ADAL" clId="{4DB2661C-9E3D-4243-8C35-421A4CA6D538}" dt="2023-03-06T12:51:14.891" v="3685" actId="208"/>
          <ac:cxnSpMkLst>
            <pc:docMk/>
            <pc:sldMk cId="1886290154" sldId="260"/>
            <ac:cxnSpMk id="10" creationId="{C6717914-4CC3-4C0D-99BD-11EBCA5B5801}"/>
          </ac:cxnSpMkLst>
        </pc:cxnChg>
        <pc:cxnChg chg="mod">
          <ac:chgData name="Lara Weidemann" userId="d78676d4-96c8-4de9-b65f-ba2c93297340" providerId="ADAL" clId="{4DB2661C-9E3D-4243-8C35-421A4CA6D538}" dt="2023-03-06T12:56:38.796" v="3690" actId="14100"/>
          <ac:cxnSpMkLst>
            <pc:docMk/>
            <pc:sldMk cId="1886290154" sldId="260"/>
            <ac:cxnSpMk id="11" creationId="{CAD4F7C9-E333-43E4-AA5B-F4FAF08DC58D}"/>
          </ac:cxnSpMkLst>
        </pc:cxnChg>
        <pc:cxnChg chg="mod">
          <ac:chgData name="Lara Weidemann" userId="d78676d4-96c8-4de9-b65f-ba2c93297340" providerId="ADAL" clId="{4DB2661C-9E3D-4243-8C35-421A4CA6D538}" dt="2023-03-06T12:47:56.192" v="3580" actId="1035"/>
          <ac:cxnSpMkLst>
            <pc:docMk/>
            <pc:sldMk cId="1886290154" sldId="260"/>
            <ac:cxnSpMk id="16" creationId="{36877F89-7DED-42FE-A7AD-A1D408716AA3}"/>
          </ac:cxnSpMkLst>
        </pc:cxnChg>
        <pc:cxnChg chg="mod">
          <ac:chgData name="Lara Weidemann" userId="d78676d4-96c8-4de9-b65f-ba2c93297340" providerId="ADAL" clId="{4DB2661C-9E3D-4243-8C35-421A4CA6D538}" dt="2023-03-06T12:50:58.583" v="3683" actId="208"/>
          <ac:cxnSpMkLst>
            <pc:docMk/>
            <pc:sldMk cId="1886290154" sldId="260"/>
            <ac:cxnSpMk id="17" creationId="{E0DEFF46-70B1-4151-B7E4-086C7BE51705}"/>
          </ac:cxnSpMkLst>
        </pc:cxnChg>
        <pc:cxnChg chg="mod">
          <ac:chgData name="Lara Weidemann" userId="d78676d4-96c8-4de9-b65f-ba2c93297340" providerId="ADAL" clId="{4DB2661C-9E3D-4243-8C35-421A4CA6D538}" dt="2023-03-06T12:47:56.192" v="3580" actId="1035"/>
          <ac:cxnSpMkLst>
            <pc:docMk/>
            <pc:sldMk cId="1886290154" sldId="260"/>
            <ac:cxnSpMk id="21" creationId="{95B7F1B7-A19B-46F8-886A-371078BEAEEC}"/>
          </ac:cxnSpMkLst>
        </pc:cxnChg>
        <pc:cxnChg chg="mod">
          <ac:chgData name="Lara Weidemann" userId="d78676d4-96c8-4de9-b65f-ba2c93297340" providerId="ADAL" clId="{4DB2661C-9E3D-4243-8C35-421A4CA6D538}" dt="2023-03-06T12:47:56.192" v="3580" actId="1035"/>
          <ac:cxnSpMkLst>
            <pc:docMk/>
            <pc:sldMk cId="1886290154" sldId="260"/>
            <ac:cxnSpMk id="25" creationId="{7BFC28CC-8018-48DE-8216-D136E8F36F62}"/>
          </ac:cxnSpMkLst>
        </pc:cxnChg>
      </pc:sldChg>
      <pc:sldChg chg="addSp delSp modSp">
        <pc:chgData name="Lara Weidemann" userId="d78676d4-96c8-4de9-b65f-ba2c93297340" providerId="ADAL" clId="{4DB2661C-9E3D-4243-8C35-421A4CA6D538}" dt="2023-03-06T13:47:31.916" v="4787"/>
        <pc:sldMkLst>
          <pc:docMk/>
          <pc:sldMk cId="2389000172" sldId="266"/>
        </pc:sldMkLst>
        <pc:spChg chg="mod">
          <ac:chgData name="Lara Weidemann" userId="d78676d4-96c8-4de9-b65f-ba2c93297340" providerId="ADAL" clId="{4DB2661C-9E3D-4243-8C35-421A4CA6D538}" dt="2023-03-06T13:47:31.879" v="4717" actId="948"/>
          <ac:spMkLst>
            <pc:docMk/>
            <pc:sldMk cId="2389000172" sldId="266"/>
            <ac:spMk id="3" creationId="{843EC4F4-91B5-492D-B43E-B1C2126FDC8B}"/>
          </ac:spMkLst>
        </pc:spChg>
        <pc:spChg chg="add del mod">
          <ac:chgData name="Lara Weidemann" userId="d78676d4-96c8-4de9-b65f-ba2c93297340" providerId="ADAL" clId="{4DB2661C-9E3D-4243-8C35-421A4CA6D538}" dt="2023-03-06T13:22:44.308" v="3741"/>
          <ac:spMkLst>
            <pc:docMk/>
            <pc:sldMk cId="2389000172" sldId="266"/>
            <ac:spMk id="6" creationId="{D988CE50-81AE-45BE-A48C-00ABFA12CA26}"/>
          </ac:spMkLst>
        </pc:spChg>
        <pc:spChg chg="add del mod">
          <ac:chgData name="Lara Weidemann" userId="d78676d4-96c8-4de9-b65f-ba2c93297340" providerId="ADAL" clId="{4DB2661C-9E3D-4243-8C35-421A4CA6D538}" dt="2023-03-03T12:23:37.831" v="2482"/>
          <ac:spMkLst>
            <pc:docMk/>
            <pc:sldMk cId="2389000172" sldId="266"/>
            <ac:spMk id="6" creationId="{ED0FC550-66F6-4A63-834B-B36D6E2CE360}"/>
          </ac:spMkLst>
        </pc:spChg>
        <pc:spChg chg="add del mod">
          <ac:chgData name="Lara Weidemann" userId="d78676d4-96c8-4de9-b65f-ba2c93297340" providerId="ADAL" clId="{4DB2661C-9E3D-4243-8C35-421A4CA6D538}" dt="2023-03-06T13:22:46.448" v="3786"/>
          <ac:spMkLst>
            <pc:docMk/>
            <pc:sldMk cId="2389000172" sldId="266"/>
            <ac:spMk id="8" creationId="{2F00E7D1-763D-466F-85A9-23B5B6C237EE}"/>
          </ac:spMkLst>
        </pc:spChg>
        <pc:spChg chg="add del mod">
          <ac:chgData name="Lara Weidemann" userId="d78676d4-96c8-4de9-b65f-ba2c93297340" providerId="ADAL" clId="{4DB2661C-9E3D-4243-8C35-421A4CA6D538}" dt="2023-03-03T12:23:39.888" v="2532"/>
          <ac:spMkLst>
            <pc:docMk/>
            <pc:sldMk cId="2389000172" sldId="266"/>
            <ac:spMk id="8" creationId="{9885FD8C-0DCB-4742-8A62-866C7F8AC446}"/>
          </ac:spMkLst>
        </pc:spChg>
        <pc:spChg chg="add del mod">
          <ac:chgData name="Lara Weidemann" userId="d78676d4-96c8-4de9-b65f-ba2c93297340" providerId="ADAL" clId="{4DB2661C-9E3D-4243-8C35-421A4CA6D538}" dt="2023-03-06T13:22:47.594" v="3831"/>
          <ac:spMkLst>
            <pc:docMk/>
            <pc:sldMk cId="2389000172" sldId="266"/>
            <ac:spMk id="9" creationId="{BB325246-E3C4-441C-9D9C-87170D7D2B08}"/>
          </ac:spMkLst>
        </pc:spChg>
        <pc:spChg chg="add del mod">
          <ac:chgData name="Lara Weidemann" userId="d78676d4-96c8-4de9-b65f-ba2c93297340" providerId="ADAL" clId="{4DB2661C-9E3D-4243-8C35-421A4CA6D538}" dt="2023-03-03T12:23:41.410" v="2579"/>
          <ac:spMkLst>
            <pc:docMk/>
            <pc:sldMk cId="2389000172" sldId="266"/>
            <ac:spMk id="9" creationId="{FE28F447-785C-415E-86AD-C93C2D16141E}"/>
          </ac:spMkLst>
        </pc:spChg>
        <pc:spChg chg="add del mod">
          <ac:chgData name="Lara Weidemann" userId="d78676d4-96c8-4de9-b65f-ba2c93297340" providerId="ADAL" clId="{4DB2661C-9E3D-4243-8C35-421A4CA6D538}" dt="2023-03-06T13:22:49.359" v="3881"/>
          <ac:spMkLst>
            <pc:docMk/>
            <pc:sldMk cId="2389000172" sldId="266"/>
            <ac:spMk id="10" creationId="{468EB356-6328-4649-990F-06857E97A646}"/>
          </ac:spMkLst>
        </pc:spChg>
        <pc:spChg chg="add del mod">
          <ac:chgData name="Lara Weidemann" userId="d78676d4-96c8-4de9-b65f-ba2c93297340" providerId="ADAL" clId="{4DB2661C-9E3D-4243-8C35-421A4CA6D538}" dt="2023-03-03T12:23:45.009" v="2630"/>
          <ac:spMkLst>
            <pc:docMk/>
            <pc:sldMk cId="2389000172" sldId="266"/>
            <ac:spMk id="10" creationId="{6FF16C46-8615-4DF1-8B12-8120A500C86F}"/>
          </ac:spMkLst>
        </pc:spChg>
        <pc:spChg chg="add del mod">
          <ac:chgData name="Lara Weidemann" userId="d78676d4-96c8-4de9-b65f-ba2c93297340" providerId="ADAL" clId="{4DB2661C-9E3D-4243-8C35-421A4CA6D538}" dt="2023-03-03T12:23:48.395" v="2690"/>
          <ac:spMkLst>
            <pc:docMk/>
            <pc:sldMk cId="2389000172" sldId="266"/>
            <ac:spMk id="11" creationId="{7321363B-02FC-49ED-90ED-BCAE3A40F3A0}"/>
          </ac:spMkLst>
        </pc:spChg>
        <pc:spChg chg="add del mod">
          <ac:chgData name="Lara Weidemann" userId="d78676d4-96c8-4de9-b65f-ba2c93297340" providerId="ADAL" clId="{4DB2661C-9E3D-4243-8C35-421A4CA6D538}" dt="2023-03-06T13:22:50.020" v="3923"/>
          <ac:spMkLst>
            <pc:docMk/>
            <pc:sldMk cId="2389000172" sldId="266"/>
            <ac:spMk id="11" creationId="{91AFC8DE-2CAD-47B4-8546-7D8B98ADD269}"/>
          </ac:spMkLst>
        </pc:spChg>
        <pc:spChg chg="add del mod">
          <ac:chgData name="Lara Weidemann" userId="d78676d4-96c8-4de9-b65f-ba2c93297340" providerId="ADAL" clId="{4DB2661C-9E3D-4243-8C35-421A4CA6D538}" dt="2023-03-03T12:23:49.415" v="2732"/>
          <ac:spMkLst>
            <pc:docMk/>
            <pc:sldMk cId="2389000172" sldId="266"/>
            <ac:spMk id="12" creationId="{3D85C6AA-ACF8-47DB-AD50-FAC4EC1EED1D}"/>
          </ac:spMkLst>
        </pc:spChg>
        <pc:spChg chg="add del mod">
          <ac:chgData name="Lara Weidemann" userId="d78676d4-96c8-4de9-b65f-ba2c93297340" providerId="ADAL" clId="{4DB2661C-9E3D-4243-8C35-421A4CA6D538}" dt="2023-03-06T13:22:52.224" v="3974"/>
          <ac:spMkLst>
            <pc:docMk/>
            <pc:sldMk cId="2389000172" sldId="266"/>
            <ac:spMk id="12" creationId="{3F30F05F-C048-4B6E-9D48-324BF8E28024}"/>
          </ac:spMkLst>
        </pc:spChg>
        <pc:spChg chg="add del mod">
          <ac:chgData name="Lara Weidemann" userId="d78676d4-96c8-4de9-b65f-ba2c93297340" providerId="ADAL" clId="{4DB2661C-9E3D-4243-8C35-421A4CA6D538}" dt="2023-03-03T12:23:55.445" v="2774"/>
          <ac:spMkLst>
            <pc:docMk/>
            <pc:sldMk cId="2389000172" sldId="266"/>
            <ac:spMk id="13" creationId="{BE43F245-4E1D-4BF8-853F-0DDE40AB2ACC}"/>
          </ac:spMkLst>
        </pc:spChg>
        <pc:spChg chg="add del mod">
          <ac:chgData name="Lara Weidemann" userId="d78676d4-96c8-4de9-b65f-ba2c93297340" providerId="ADAL" clId="{4DB2661C-9E3D-4243-8C35-421A4CA6D538}" dt="2023-03-06T13:23:23.674" v="4016"/>
          <ac:spMkLst>
            <pc:docMk/>
            <pc:sldMk cId="2389000172" sldId="266"/>
            <ac:spMk id="13" creationId="{FBAEC6AB-1D6B-414E-9E4F-3C1EC1741658}"/>
          </ac:spMkLst>
        </pc:spChg>
        <pc:spChg chg="add del mod">
          <ac:chgData name="Lara Weidemann" userId="d78676d4-96c8-4de9-b65f-ba2c93297340" providerId="ADAL" clId="{4DB2661C-9E3D-4243-8C35-421A4CA6D538}" dt="2023-03-06T13:27:34.395" v="4098" actId="20578"/>
          <ac:spMkLst>
            <pc:docMk/>
            <pc:sldMk cId="2389000172" sldId="266"/>
            <ac:spMk id="14" creationId="{080C001A-1DBC-434A-B421-94474767FCFC}"/>
          </ac:spMkLst>
        </pc:spChg>
        <pc:spChg chg="add del mod">
          <ac:chgData name="Lara Weidemann" userId="d78676d4-96c8-4de9-b65f-ba2c93297340" providerId="ADAL" clId="{4DB2661C-9E3D-4243-8C35-421A4CA6D538}" dt="2023-03-06T13:46:36.942" v="4144"/>
          <ac:spMkLst>
            <pc:docMk/>
            <pc:sldMk cId="2389000172" sldId="266"/>
            <ac:spMk id="15" creationId="{B10BD1B7-8A84-40BE-8B9C-B6865007D621}"/>
          </ac:spMkLst>
        </pc:spChg>
        <pc:spChg chg="add del mod">
          <ac:chgData name="Lara Weidemann" userId="d78676d4-96c8-4de9-b65f-ba2c93297340" providerId="ADAL" clId="{4DB2661C-9E3D-4243-8C35-421A4CA6D538}" dt="2023-03-06T13:46:39.860" v="4200"/>
          <ac:spMkLst>
            <pc:docMk/>
            <pc:sldMk cId="2389000172" sldId="266"/>
            <ac:spMk id="16" creationId="{58AF69AC-26BC-4253-B0FC-0774AB9B55B6}"/>
          </ac:spMkLst>
        </pc:spChg>
        <pc:spChg chg="add del mod">
          <ac:chgData name="Lara Weidemann" userId="d78676d4-96c8-4de9-b65f-ba2c93297340" providerId="ADAL" clId="{4DB2661C-9E3D-4243-8C35-421A4CA6D538}" dt="2023-03-06T13:46:42.694" v="4250"/>
          <ac:spMkLst>
            <pc:docMk/>
            <pc:sldMk cId="2389000172" sldId="266"/>
            <ac:spMk id="17" creationId="{73084C76-5710-44EC-9B22-209D2B1BD899}"/>
          </ac:spMkLst>
        </pc:spChg>
        <pc:spChg chg="add del mod">
          <ac:chgData name="Lara Weidemann" userId="d78676d4-96c8-4de9-b65f-ba2c93297340" providerId="ADAL" clId="{4DB2661C-9E3D-4243-8C35-421A4CA6D538}" dt="2023-03-06T13:46:43.909" v="4294"/>
          <ac:spMkLst>
            <pc:docMk/>
            <pc:sldMk cId="2389000172" sldId="266"/>
            <ac:spMk id="18" creationId="{77290BD5-89A4-4420-A9B7-51F602EE782A}"/>
          </ac:spMkLst>
        </pc:spChg>
        <pc:spChg chg="add del mod">
          <ac:chgData name="Lara Weidemann" userId="d78676d4-96c8-4de9-b65f-ba2c93297340" providerId="ADAL" clId="{4DB2661C-9E3D-4243-8C35-421A4CA6D538}" dt="2023-03-06T13:46:49.160" v="4373"/>
          <ac:spMkLst>
            <pc:docMk/>
            <pc:sldMk cId="2389000172" sldId="266"/>
            <ac:spMk id="19" creationId="{E563BD91-8D7E-4475-9994-1E64FE38905D}"/>
          </ac:spMkLst>
        </pc:spChg>
        <pc:spChg chg="add del mod">
          <ac:chgData name="Lara Weidemann" userId="d78676d4-96c8-4de9-b65f-ba2c93297340" providerId="ADAL" clId="{4DB2661C-9E3D-4243-8C35-421A4CA6D538}" dt="2023-03-06T13:46:49.841" v="4415"/>
          <ac:spMkLst>
            <pc:docMk/>
            <pc:sldMk cId="2389000172" sldId="266"/>
            <ac:spMk id="20" creationId="{54A8CE63-1BA3-4030-9748-B48B54230F26}"/>
          </ac:spMkLst>
        </pc:spChg>
        <pc:spChg chg="add del mod">
          <ac:chgData name="Lara Weidemann" userId="d78676d4-96c8-4de9-b65f-ba2c93297340" providerId="ADAL" clId="{4DB2661C-9E3D-4243-8C35-421A4CA6D538}" dt="2023-03-06T13:46:56.179" v="4485"/>
          <ac:spMkLst>
            <pc:docMk/>
            <pc:sldMk cId="2389000172" sldId="266"/>
            <ac:spMk id="21" creationId="{0A4DA36D-DCE7-431C-A2C8-2D563BAE0F6B}"/>
          </ac:spMkLst>
        </pc:spChg>
        <pc:spChg chg="add del mod">
          <ac:chgData name="Lara Weidemann" userId="d78676d4-96c8-4de9-b65f-ba2c93297340" providerId="ADAL" clId="{4DB2661C-9E3D-4243-8C35-421A4CA6D538}" dt="2023-03-06T13:47:02.495" v="4527"/>
          <ac:spMkLst>
            <pc:docMk/>
            <pc:sldMk cId="2389000172" sldId="266"/>
            <ac:spMk id="22" creationId="{4E07DA4C-3FD0-40B2-93E3-AFBC5116DAE0}"/>
          </ac:spMkLst>
        </pc:spChg>
        <pc:spChg chg="add del mod">
          <ac:chgData name="Lara Weidemann" userId="d78676d4-96c8-4de9-b65f-ba2c93297340" providerId="ADAL" clId="{4DB2661C-9E3D-4243-8C35-421A4CA6D538}" dt="2023-03-06T13:47:14.361" v="4569"/>
          <ac:spMkLst>
            <pc:docMk/>
            <pc:sldMk cId="2389000172" sldId="266"/>
            <ac:spMk id="23" creationId="{6C272807-866B-4158-9E90-516AB0B09B0F}"/>
          </ac:spMkLst>
        </pc:spChg>
        <pc:spChg chg="add del mod">
          <ac:chgData name="Lara Weidemann" userId="d78676d4-96c8-4de9-b65f-ba2c93297340" providerId="ADAL" clId="{4DB2661C-9E3D-4243-8C35-421A4CA6D538}" dt="2023-03-06T13:47:18.324" v="4641"/>
          <ac:spMkLst>
            <pc:docMk/>
            <pc:sldMk cId="2389000172" sldId="266"/>
            <ac:spMk id="24" creationId="{E81A2A9E-A8BE-467C-85A8-62C8B3C2C3F9}"/>
          </ac:spMkLst>
        </pc:spChg>
        <pc:spChg chg="add del mod">
          <ac:chgData name="Lara Weidemann" userId="d78676d4-96c8-4de9-b65f-ba2c93297340" providerId="ADAL" clId="{4DB2661C-9E3D-4243-8C35-421A4CA6D538}" dt="2023-03-06T13:47:26.129" v="4713"/>
          <ac:spMkLst>
            <pc:docMk/>
            <pc:sldMk cId="2389000172" sldId="266"/>
            <ac:spMk id="25" creationId="{B46FFC81-D073-421C-9E51-0EBF450A3098}"/>
          </ac:spMkLst>
        </pc:spChg>
        <pc:spChg chg="add del mod">
          <ac:chgData name="Lara Weidemann" userId="d78676d4-96c8-4de9-b65f-ba2c93297340" providerId="ADAL" clId="{4DB2661C-9E3D-4243-8C35-421A4CA6D538}" dt="2023-03-06T13:47:31.915" v="4785"/>
          <ac:spMkLst>
            <pc:docMk/>
            <pc:sldMk cId="2389000172" sldId="266"/>
            <ac:spMk id="26" creationId="{B73D06BD-B490-4712-A0EF-1B714D9B06BE}"/>
          </ac:spMkLst>
        </pc:spChg>
        <pc:graphicFrameChg chg="mod">
          <ac:chgData name="Lara Weidemann" userId="d78676d4-96c8-4de9-b65f-ba2c93297340" providerId="ADAL" clId="{4DB2661C-9E3D-4243-8C35-421A4CA6D538}" dt="2023-03-06T13:47:31.916" v="4787"/>
          <ac:graphicFrameMkLst>
            <pc:docMk/>
            <pc:sldMk cId="2389000172" sldId="266"/>
            <ac:graphicFrameMk id="7" creationId="{86CC1DF6-00DD-4FBE-B9CB-B5D097381298}"/>
          </ac:graphicFrameMkLst>
        </pc:graphicFrameChg>
      </pc:sldChg>
      <pc:sldChg chg="addSp delSp modSp">
        <pc:chgData name="Lara Weidemann" userId="d78676d4-96c8-4de9-b65f-ba2c93297340" providerId="ADAL" clId="{4DB2661C-9E3D-4243-8C35-421A4CA6D538}" dt="2023-03-06T11:46:26.868" v="3161" actId="14100"/>
        <pc:sldMkLst>
          <pc:docMk/>
          <pc:sldMk cId="1325671312" sldId="267"/>
        </pc:sldMkLst>
        <pc:spChg chg="mod">
          <ac:chgData name="Lara Weidemann" userId="d78676d4-96c8-4de9-b65f-ba2c93297340" providerId="ADAL" clId="{4DB2661C-9E3D-4243-8C35-421A4CA6D538}" dt="2023-03-06T11:46:26.868" v="3161" actId="14100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Lara Weidemann" userId="d78676d4-96c8-4de9-b65f-ba2c93297340" providerId="ADAL" clId="{4DB2661C-9E3D-4243-8C35-421A4CA6D538}" dt="2023-03-06T10:29:02.361" v="2961" actId="948"/>
          <ac:spMkLst>
            <pc:docMk/>
            <pc:sldMk cId="1325671312" sldId="267"/>
            <ac:spMk id="3" creationId="{33ADE9D8-D38A-4351-88F3-E78D2F95414B}"/>
          </ac:spMkLst>
        </pc:spChg>
        <pc:spChg chg="mod">
          <ac:chgData name="Lara Weidemann" userId="d78676d4-96c8-4de9-b65f-ba2c93297340" providerId="ADAL" clId="{4DB2661C-9E3D-4243-8C35-421A4CA6D538}" dt="2023-03-06T10:25:38.106" v="2924" actId="1076"/>
          <ac:spMkLst>
            <pc:docMk/>
            <pc:sldMk cId="1325671312" sldId="267"/>
            <ac:spMk id="11" creationId="{B8906F85-7AA7-487C-A5AD-6406A0AD16C9}"/>
          </ac:spMkLst>
        </pc:spChg>
        <pc:spChg chg="mod">
          <ac:chgData name="Lara Weidemann" userId="d78676d4-96c8-4de9-b65f-ba2c93297340" providerId="ADAL" clId="{4DB2661C-9E3D-4243-8C35-421A4CA6D538}" dt="2023-03-06T09:51:55.825" v="2911" actId="1076"/>
          <ac:spMkLst>
            <pc:docMk/>
            <pc:sldMk cId="1325671312" sldId="267"/>
            <ac:spMk id="12" creationId="{A4C187FB-BF2A-42E9-8046-2E55810EA5FE}"/>
          </ac:spMkLst>
        </pc:spChg>
        <pc:graphicFrameChg chg="add mod ord">
          <ac:chgData name="Lara Weidemann" userId="d78676d4-96c8-4de9-b65f-ba2c93297340" providerId="ADAL" clId="{4DB2661C-9E3D-4243-8C35-421A4CA6D538}" dt="2023-03-03T12:11:43.748" v="976"/>
          <ac:graphicFrameMkLst>
            <pc:docMk/>
            <pc:sldMk cId="1325671312" sldId="267"/>
            <ac:graphicFrameMk id="5" creationId="{64026435-EBB0-4353-A250-22744CAEB0F0}"/>
          </ac:graphicFrameMkLst>
        </pc:graphicFrameChg>
        <pc:picChg chg="mod">
          <ac:chgData name="Lara Weidemann" userId="d78676d4-96c8-4de9-b65f-ba2c93297340" providerId="ADAL" clId="{4DB2661C-9E3D-4243-8C35-421A4CA6D538}" dt="2023-03-06T09:51:52.211" v="2910" actId="1076"/>
          <ac:picMkLst>
            <pc:docMk/>
            <pc:sldMk cId="1325671312" sldId="267"/>
            <ac:picMk id="4" creationId="{E5DB18C1-FF95-4085-A97E-89EC374C183C}"/>
          </ac:picMkLst>
        </pc:picChg>
        <pc:picChg chg="del">
          <ac:chgData name="Lara Weidemann" userId="d78676d4-96c8-4de9-b65f-ba2c93297340" providerId="ADAL" clId="{4DB2661C-9E3D-4243-8C35-421A4CA6D538}" dt="2023-03-06T09:39:24.565" v="2866" actId="478"/>
          <ac:picMkLst>
            <pc:docMk/>
            <pc:sldMk cId="1325671312" sldId="267"/>
            <ac:picMk id="3074" creationId="{B71FEECC-223C-448A-8705-136CBA485BE2}"/>
          </ac:picMkLst>
        </pc:picChg>
        <pc:picChg chg="mod">
          <ac:chgData name="Lara Weidemann" userId="d78676d4-96c8-4de9-b65f-ba2c93297340" providerId="ADAL" clId="{4DB2661C-9E3D-4243-8C35-421A4CA6D538}" dt="2023-03-06T10:25:40.466" v="2925" actId="1036"/>
          <ac:picMkLst>
            <pc:docMk/>
            <pc:sldMk cId="1325671312" sldId="267"/>
            <ac:picMk id="3082" creationId="{19338693-CC4F-4B5F-8F78-36B1E5AEB5F9}"/>
          </ac:picMkLst>
        </pc:picChg>
      </pc:sldChg>
      <pc:sldChg chg="addSp modSp">
        <pc:chgData name="Lara Weidemann" userId="d78676d4-96c8-4de9-b65f-ba2c93297340" providerId="ADAL" clId="{4DB2661C-9E3D-4243-8C35-421A4CA6D538}" dt="2023-03-06T09:39:14.581" v="2865" actId="1076"/>
        <pc:sldMkLst>
          <pc:docMk/>
          <pc:sldMk cId="3857656806" sldId="268"/>
        </pc:sldMkLst>
        <pc:spChg chg="mod">
          <ac:chgData name="Lara Weidemann" userId="d78676d4-96c8-4de9-b65f-ba2c93297340" providerId="ADAL" clId="{4DB2661C-9E3D-4243-8C35-421A4CA6D538}" dt="2023-03-06T09:39:10.963" v="2864" actId="404"/>
          <ac:spMkLst>
            <pc:docMk/>
            <pc:sldMk cId="3857656806" sldId="268"/>
            <ac:spMk id="4" creationId="{9ABB5680-89F6-44F1-B670-54B4F1CD8F8D}"/>
          </ac:spMkLst>
        </pc:spChg>
        <pc:spChg chg="mod">
          <ac:chgData name="Lara Weidemann" userId="d78676d4-96c8-4de9-b65f-ba2c93297340" providerId="ADAL" clId="{4DB2661C-9E3D-4243-8C35-421A4CA6D538}" dt="2023-03-06T09:39:14.581" v="2865" actId="1076"/>
          <ac:spMkLst>
            <pc:docMk/>
            <pc:sldMk cId="3857656806" sldId="268"/>
            <ac:spMk id="7" creationId="{5415EFE7-4743-4F5B-9F97-0B72861A9A0E}"/>
          </ac:spMkLst>
        </pc:spChg>
        <pc:graphicFrameChg chg="add mod ord">
          <ac:chgData name="Lara Weidemann" userId="d78676d4-96c8-4de9-b65f-ba2c93297340" providerId="ADAL" clId="{4DB2661C-9E3D-4243-8C35-421A4CA6D538}" dt="2023-03-03T12:06:05.873" v="380"/>
          <ac:graphicFrameMkLst>
            <pc:docMk/>
            <pc:sldMk cId="3857656806" sldId="268"/>
            <ac:graphicFrameMk id="2" creationId="{933053D3-4431-4B6F-A6DC-AE85B08B2637}"/>
          </ac:graphicFrameMkLst>
        </pc:graphicFrameChg>
      </pc:sldChg>
      <pc:sldChg chg="modSp add">
        <pc:chgData name="Lara Weidemann" userId="d78676d4-96c8-4de9-b65f-ba2c93297340" providerId="ADAL" clId="{4DB2661C-9E3D-4243-8C35-421A4CA6D538}" dt="2023-03-06T09:39:04.587" v="2861" actId="1076"/>
        <pc:sldMkLst>
          <pc:docMk/>
          <pc:sldMk cId="1595703888" sldId="2147474933"/>
        </pc:sldMkLst>
        <pc:spChg chg="mod">
          <ac:chgData name="Lara Weidemann" userId="d78676d4-96c8-4de9-b65f-ba2c93297340" providerId="ADAL" clId="{4DB2661C-9E3D-4243-8C35-421A4CA6D538}" dt="2023-03-06T09:38:59.998" v="2860" actId="255"/>
          <ac:spMkLst>
            <pc:docMk/>
            <pc:sldMk cId="1595703888" sldId="2147474933"/>
            <ac:spMk id="5" creationId="{3095CD59-4895-4C6D-88A7-6ADB9E88D4F5}"/>
          </ac:spMkLst>
        </pc:spChg>
        <pc:spChg chg="mod">
          <ac:chgData name="Lara Weidemann" userId="d78676d4-96c8-4de9-b65f-ba2c93297340" providerId="ADAL" clId="{4DB2661C-9E3D-4243-8C35-421A4CA6D538}" dt="2023-03-06T09:39:04.587" v="2861" actId="1076"/>
          <ac:spMkLst>
            <pc:docMk/>
            <pc:sldMk cId="1595703888" sldId="2147474933"/>
            <ac:spMk id="6" creationId="{723E1BD3-552E-49A5-B2A6-1038DF60EC3B}"/>
          </ac:spMkLst>
        </pc:spChg>
      </pc:sldChg>
      <pc:sldChg chg="addSp delSp modSp add">
        <pc:chgData name="Lara Weidemann" userId="d78676d4-96c8-4de9-b65f-ba2c93297340" providerId="ADAL" clId="{4DB2661C-9E3D-4243-8C35-421A4CA6D538}" dt="2023-03-06T14:10:04.261" v="6040" actId="1076"/>
        <pc:sldMkLst>
          <pc:docMk/>
          <pc:sldMk cId="40899146" sldId="2147474934"/>
        </pc:sldMkLst>
        <pc:spChg chg="add del mod">
          <ac:chgData name="Lara Weidemann" userId="d78676d4-96c8-4de9-b65f-ba2c93297340" providerId="ADAL" clId="{4DB2661C-9E3D-4243-8C35-421A4CA6D538}" dt="2023-03-06T12:03:09.106" v="3228" actId="478"/>
          <ac:spMkLst>
            <pc:docMk/>
            <pc:sldMk cId="40899146" sldId="2147474934"/>
            <ac:spMk id="3" creationId="{52AC74BB-C79D-458B-8DC0-13898B74827A}"/>
          </ac:spMkLst>
        </pc:spChg>
        <pc:spChg chg="add del mod ord">
          <ac:chgData name="Lara Weidemann" userId="d78676d4-96c8-4de9-b65f-ba2c93297340" providerId="ADAL" clId="{4DB2661C-9E3D-4243-8C35-421A4CA6D538}" dt="2023-03-06T14:00:38.341" v="5789" actId="478"/>
          <ac:spMkLst>
            <pc:docMk/>
            <pc:sldMk cId="40899146" sldId="2147474934"/>
            <ac:spMk id="4" creationId="{F5A0F7C5-A150-4015-BEB4-A400A051BA95}"/>
          </ac:spMkLst>
        </pc:spChg>
        <pc:spChg chg="del">
          <ac:chgData name="Lara Weidemann" userId="d78676d4-96c8-4de9-b65f-ba2c93297340" providerId="ADAL" clId="{4DB2661C-9E3D-4243-8C35-421A4CA6D538}" dt="2023-03-06T12:03:18.485" v="3229"/>
          <ac:spMkLst>
            <pc:docMk/>
            <pc:sldMk cId="40899146" sldId="2147474934"/>
            <ac:spMk id="6" creationId="{1FFCE510-3078-490D-9EB3-7F19548E2C08}"/>
          </ac:spMkLst>
        </pc:spChg>
        <pc:spChg chg="add mod ord">
          <ac:chgData name="Lara Weidemann" userId="d78676d4-96c8-4de9-b65f-ba2c93297340" providerId="ADAL" clId="{4DB2661C-9E3D-4243-8C35-421A4CA6D538}" dt="2023-03-06T14:10:04.261" v="6040" actId="1076"/>
          <ac:spMkLst>
            <pc:docMk/>
            <pc:sldMk cId="40899146" sldId="2147474934"/>
            <ac:spMk id="7" creationId="{590103BA-0763-4FFE-A610-DEFAD9577D1C}"/>
          </ac:spMkLst>
        </pc:spChg>
        <pc:spChg chg="mod ord">
          <ac:chgData name="Lara Weidemann" userId="d78676d4-96c8-4de9-b65f-ba2c93297340" providerId="ADAL" clId="{4DB2661C-9E3D-4243-8C35-421A4CA6D538}" dt="2023-03-06T14:09:12.308" v="6028" actId="1076"/>
          <ac:spMkLst>
            <pc:docMk/>
            <pc:sldMk cId="40899146" sldId="2147474934"/>
            <ac:spMk id="10" creationId="{2EFFDFF4-342F-418C-A9AD-BDE15F52149D}"/>
          </ac:spMkLst>
        </pc:spChg>
        <pc:spChg chg="add del mod">
          <ac:chgData name="Lara Weidemann" userId="d78676d4-96c8-4de9-b65f-ba2c93297340" providerId="ADAL" clId="{4DB2661C-9E3D-4243-8C35-421A4CA6D538}" dt="2023-03-06T14:00:46.265" v="5795" actId="478"/>
          <ac:spMkLst>
            <pc:docMk/>
            <pc:sldMk cId="40899146" sldId="2147474934"/>
            <ac:spMk id="13" creationId="{EDC33189-146D-42DA-A45B-67DDC0150427}"/>
          </ac:spMkLst>
        </pc:spChg>
        <pc:spChg chg="add mod">
          <ac:chgData name="Lara Weidemann" userId="d78676d4-96c8-4de9-b65f-ba2c93297340" providerId="ADAL" clId="{4DB2661C-9E3D-4243-8C35-421A4CA6D538}" dt="2023-03-06T14:08:57.536" v="6026" actId="14100"/>
          <ac:spMkLst>
            <pc:docMk/>
            <pc:sldMk cId="40899146" sldId="2147474934"/>
            <ac:spMk id="14" creationId="{EB9B333B-169F-4307-A2DF-AACCB28B26E4}"/>
          </ac:spMkLst>
        </pc:spChg>
        <pc:graphicFrameChg chg="mod">
          <ac:chgData name="Lara Weidemann" userId="d78676d4-96c8-4de9-b65f-ba2c93297340" providerId="ADAL" clId="{4DB2661C-9E3D-4243-8C35-421A4CA6D538}" dt="2023-03-06T14:01:05.991" v="5802"/>
          <ac:graphicFrameMkLst>
            <pc:docMk/>
            <pc:sldMk cId="40899146" sldId="2147474934"/>
            <ac:graphicFrameMk id="5" creationId="{72018189-1E5F-48ED-8E7E-5969ACFC191D}"/>
          </ac:graphicFrameMkLst>
        </pc:graphicFrameChg>
        <pc:picChg chg="del">
          <ac:chgData name="Lara Weidemann" userId="d78676d4-96c8-4de9-b65f-ba2c93297340" providerId="ADAL" clId="{4DB2661C-9E3D-4243-8C35-421A4CA6D538}" dt="2023-03-06T12:03:03.261" v="3227" actId="478"/>
          <ac:picMkLst>
            <pc:docMk/>
            <pc:sldMk cId="40899146" sldId="2147474934"/>
            <ac:picMk id="9" creationId="{DE708230-29CD-4D06-AD6D-4E59F65E1199}"/>
          </ac:picMkLst>
        </pc:picChg>
        <pc:picChg chg="add del mod ord modCrop">
          <ac:chgData name="Lara Weidemann" userId="d78676d4-96c8-4de9-b65f-ba2c93297340" providerId="ADAL" clId="{4DB2661C-9E3D-4243-8C35-421A4CA6D538}" dt="2023-03-06T14:08:09.747" v="6016" actId="478"/>
          <ac:picMkLst>
            <pc:docMk/>
            <pc:sldMk cId="40899146" sldId="2147474934"/>
            <ac:picMk id="11" creationId="{229A453B-C0FB-4B8D-A672-8BC3F516692B}"/>
          </ac:picMkLst>
        </pc:picChg>
        <pc:picChg chg="add del mod modCrop">
          <ac:chgData name="Lara Weidemann" userId="d78676d4-96c8-4de9-b65f-ba2c93297340" providerId="ADAL" clId="{4DB2661C-9E3D-4243-8C35-421A4CA6D538}" dt="2023-03-06T14:09:01.182" v="6027" actId="1076"/>
          <ac:picMkLst>
            <pc:docMk/>
            <pc:sldMk cId="40899146" sldId="2147474934"/>
            <ac:picMk id="16" creationId="{3EE9F52F-1812-4FA1-BCCF-92E137C8BD26}"/>
          </ac:picMkLst>
        </pc:picChg>
        <pc:picChg chg="add mod modCrop">
          <ac:chgData name="Lara Weidemann" userId="d78676d4-96c8-4de9-b65f-ba2c93297340" providerId="ADAL" clId="{4DB2661C-9E3D-4243-8C35-421A4CA6D538}" dt="2023-03-06T14:09:57.526" v="6038" actId="732"/>
          <ac:picMkLst>
            <pc:docMk/>
            <pc:sldMk cId="40899146" sldId="2147474934"/>
            <ac:picMk id="17" creationId="{DF7370CD-EFA9-4FA2-A598-2AEDD00829A4}"/>
          </ac:picMkLst>
        </pc:picChg>
        <pc:picChg chg="del">
          <ac:chgData name="Lara Weidemann" userId="d78676d4-96c8-4de9-b65f-ba2c93297340" providerId="ADAL" clId="{4DB2661C-9E3D-4243-8C35-421A4CA6D538}" dt="2023-03-06T12:03:21.390" v="3232" actId="478"/>
          <ac:picMkLst>
            <pc:docMk/>
            <pc:sldMk cId="40899146" sldId="2147474934"/>
            <ac:picMk id="3074" creationId="{50ED601F-B380-46BF-90FD-2F6781B93409}"/>
          </ac:picMkLst>
        </pc:picChg>
      </pc:sldChg>
    </pc:docChg>
  </pc:docChgLst>
  <pc:docChgLst>
    <pc:chgData name="Dimitri Militschenko" userId="2698819e-f51f-4938-ae1b-875ffc6b70b6" providerId="ADAL" clId="{FF1D73EE-BDE1-40A6-9B6D-957CBA750965}"/>
    <pc:docChg chg="undo custSel modSld replTag">
      <pc:chgData name="Dimitri Militschenko" userId="2698819e-f51f-4938-ae1b-875ffc6b70b6" providerId="ADAL" clId="{FF1D73EE-BDE1-40A6-9B6D-957CBA750965}" dt="2024-07-03T07:40:01.504" v="333" actId="13926"/>
      <pc:docMkLst>
        <pc:docMk/>
      </pc:docMkLst>
      <pc:sldChg chg="addSp delSp modSp mod">
        <pc:chgData name="Dimitri Militschenko" userId="2698819e-f51f-4938-ae1b-875ffc6b70b6" providerId="ADAL" clId="{FF1D73EE-BDE1-40A6-9B6D-957CBA750965}" dt="2024-07-03T07:40:01.504" v="333" actId="13926"/>
        <pc:sldMkLst>
          <pc:docMk/>
          <pc:sldMk cId="1325671312" sldId="267"/>
        </pc:sldMkLst>
        <pc:spChg chg="mod">
          <ac:chgData name="Dimitri Militschenko" userId="2698819e-f51f-4938-ae1b-875ffc6b70b6" providerId="ADAL" clId="{FF1D73EE-BDE1-40A6-9B6D-957CBA750965}" dt="2024-07-03T07:39:50.437" v="331" actId="13926"/>
          <ac:spMkLst>
            <pc:docMk/>
            <pc:sldMk cId="1325671312" sldId="267"/>
            <ac:spMk id="2" creationId="{A2604645-BD76-4EBE-9A3F-B03F74B4AE0C}"/>
          </ac:spMkLst>
        </pc:spChg>
        <pc:spChg chg="mod">
          <ac:chgData name="Dimitri Militschenko" userId="2698819e-f51f-4938-ae1b-875ffc6b70b6" providerId="ADAL" clId="{FF1D73EE-BDE1-40A6-9B6D-957CBA750965}" dt="2024-07-03T07:40:01.504" v="333" actId="13926"/>
          <ac:spMkLst>
            <pc:docMk/>
            <pc:sldMk cId="1325671312" sldId="267"/>
            <ac:spMk id="3" creationId="{33ADE9D8-D38A-4351-88F3-E78D2F95414B}"/>
          </ac:spMkLst>
        </pc:spChg>
        <pc:spChg chg="del">
          <ac:chgData name="Dimitri Militschenko" userId="2698819e-f51f-4938-ae1b-875ffc6b70b6" providerId="ADAL" clId="{FF1D73EE-BDE1-40A6-9B6D-957CBA750965}" dt="2024-07-02T16:38:15.408" v="273" actId="478"/>
          <ac:spMkLst>
            <pc:docMk/>
            <pc:sldMk cId="1325671312" sldId="267"/>
            <ac:spMk id="6" creationId="{C31631B2-F8DC-7EFA-08D8-245B3EE4F6DB}"/>
          </ac:spMkLst>
        </pc:spChg>
        <pc:spChg chg="del">
          <ac:chgData name="Dimitri Militschenko" userId="2698819e-f51f-4938-ae1b-875ffc6b70b6" providerId="ADAL" clId="{FF1D73EE-BDE1-40A6-9B6D-957CBA750965}" dt="2024-07-02T16:38:15.408" v="273" actId="478"/>
          <ac:spMkLst>
            <pc:docMk/>
            <pc:sldMk cId="1325671312" sldId="267"/>
            <ac:spMk id="7" creationId="{EC5F9065-CCB0-9104-73AD-9A4507738784}"/>
          </ac:spMkLst>
        </pc:spChg>
        <pc:spChg chg="add mod">
          <ac:chgData name="Dimitri Militschenko" userId="2698819e-f51f-4938-ae1b-875ffc6b70b6" providerId="ADAL" clId="{FF1D73EE-BDE1-40A6-9B6D-957CBA750965}" dt="2024-07-02T16:38:16.437" v="274"/>
          <ac:spMkLst>
            <pc:docMk/>
            <pc:sldMk cId="1325671312" sldId="267"/>
            <ac:spMk id="10" creationId="{7217949A-C17F-7A43-9190-0A2D549A63AB}"/>
          </ac:spMkLst>
        </pc:spChg>
        <pc:spChg chg="add mod">
          <ac:chgData name="Dimitri Militschenko" userId="2698819e-f51f-4938-ae1b-875ffc6b70b6" providerId="ADAL" clId="{FF1D73EE-BDE1-40A6-9B6D-957CBA750965}" dt="2024-07-02T16:38:16.437" v="274"/>
          <ac:spMkLst>
            <pc:docMk/>
            <pc:sldMk cId="1325671312" sldId="267"/>
            <ac:spMk id="12" creationId="{A567C28F-2283-E48F-0C0E-D9DAD251302F}"/>
          </ac:spMkLst>
        </pc:spChg>
        <pc:spChg chg="add mod">
          <ac:chgData name="Dimitri Militschenko" userId="2698819e-f51f-4938-ae1b-875ffc6b70b6" providerId="ADAL" clId="{FF1D73EE-BDE1-40A6-9B6D-957CBA750965}" dt="2024-07-02T16:38:16.437" v="274"/>
          <ac:spMkLst>
            <pc:docMk/>
            <pc:sldMk cId="1325671312" sldId="267"/>
            <ac:spMk id="13" creationId="{AEDDFC5F-FD8D-2C5B-FB3A-79C1589598FB}"/>
          </ac:spMkLst>
        </pc:spChg>
        <pc:picChg chg="del">
          <ac:chgData name="Dimitri Militschenko" userId="2698819e-f51f-4938-ae1b-875ffc6b70b6" providerId="ADAL" clId="{FF1D73EE-BDE1-40A6-9B6D-957CBA750965}" dt="2024-07-02T16:38:15.408" v="273" actId="478"/>
          <ac:picMkLst>
            <pc:docMk/>
            <pc:sldMk cId="1325671312" sldId="267"/>
            <ac:picMk id="4" creationId="{B6333D01-8EC6-B26B-72EC-1CD93FC46B3E}"/>
          </ac:picMkLst>
        </pc:picChg>
        <pc:picChg chg="add mod">
          <ac:chgData name="Dimitri Militschenko" userId="2698819e-f51f-4938-ae1b-875ffc6b70b6" providerId="ADAL" clId="{FF1D73EE-BDE1-40A6-9B6D-957CBA750965}" dt="2024-07-03T07:39:11.384" v="325" actId="14826"/>
          <ac:picMkLst>
            <pc:docMk/>
            <pc:sldMk cId="1325671312" sldId="267"/>
            <ac:picMk id="9" creationId="{C9822949-B83B-B2EE-4905-04F7A429AB51}"/>
          </ac:picMkLst>
        </pc:picChg>
        <pc:picChg chg="add mod modCrop">
          <ac:chgData name="Dimitri Militschenko" userId="2698819e-f51f-4938-ae1b-875ffc6b70b6" providerId="ADAL" clId="{FF1D73EE-BDE1-40A6-9B6D-957CBA750965}" dt="2024-07-03T07:39:36.850" v="330" actId="732"/>
          <ac:picMkLst>
            <pc:docMk/>
            <pc:sldMk cId="1325671312" sldId="267"/>
            <ac:picMk id="11" creationId="{08753E51-55F8-B3C0-D637-BBF72C1304E2}"/>
          </ac:picMkLst>
        </pc:picChg>
      </pc:sldChg>
      <pc:sldChg chg="addSp delSp modSp mod">
        <pc:chgData name="Dimitri Militschenko" userId="2698819e-f51f-4938-ae1b-875ffc6b70b6" providerId="ADAL" clId="{FF1D73EE-BDE1-40A6-9B6D-957CBA750965}" dt="2024-07-03T07:38:45.308" v="322" actId="13926"/>
        <pc:sldMkLst>
          <pc:docMk/>
          <pc:sldMk cId="3857656806" sldId="268"/>
        </pc:sldMkLst>
        <pc:spChg chg="mod ord">
          <ac:chgData name="Dimitri Militschenko" userId="2698819e-f51f-4938-ae1b-875ffc6b70b6" providerId="ADAL" clId="{FF1D73EE-BDE1-40A6-9B6D-957CBA750965}" dt="2024-07-03T07:38:00.562" v="297"/>
          <ac:spMkLst>
            <pc:docMk/>
            <pc:sldMk cId="3857656806" sldId="268"/>
            <ac:spMk id="4" creationId="{9ABB5680-89F6-44F1-B670-54B4F1CD8F8D}"/>
          </ac:spMkLst>
        </pc:spChg>
        <pc:spChg chg="del">
          <ac:chgData name="Dimitri Militschenko" userId="2698819e-f51f-4938-ae1b-875ffc6b70b6" providerId="ADAL" clId="{FF1D73EE-BDE1-40A6-9B6D-957CBA750965}" dt="2024-07-02T16:35:22.608" v="189" actId="478"/>
          <ac:spMkLst>
            <pc:docMk/>
            <pc:sldMk cId="3857656806" sldId="268"/>
            <ac:spMk id="6" creationId="{1F70EACA-5B11-2010-4370-22A09745DB52}"/>
          </ac:spMkLst>
        </pc:spChg>
        <pc:spChg chg="mod ord">
          <ac:chgData name="Dimitri Militschenko" userId="2698819e-f51f-4938-ae1b-875ffc6b70b6" providerId="ADAL" clId="{FF1D73EE-BDE1-40A6-9B6D-957CBA750965}" dt="2024-07-03T07:38:45.308" v="322" actId="13926"/>
          <ac:spMkLst>
            <pc:docMk/>
            <pc:sldMk cId="3857656806" sldId="268"/>
            <ac:spMk id="7" creationId="{5415EFE7-4743-4F5B-9F97-0B72861A9A0E}"/>
          </ac:spMkLst>
        </pc:spChg>
        <pc:spChg chg="add mod ord">
          <ac:chgData name="Dimitri Militschenko" userId="2698819e-f51f-4938-ae1b-875ffc6b70b6" providerId="ADAL" clId="{FF1D73EE-BDE1-40A6-9B6D-957CBA750965}" dt="2024-07-03T07:38:05.889" v="316" actId="1076"/>
          <ac:spMkLst>
            <pc:docMk/>
            <pc:sldMk cId="3857656806" sldId="268"/>
            <ac:spMk id="12" creationId="{4CB48B6B-312C-496B-12BF-7763DD538D66}"/>
          </ac:spMkLst>
        </pc:spChg>
        <pc:spChg chg="add mod ord">
          <ac:chgData name="Dimitri Militschenko" userId="2698819e-f51f-4938-ae1b-875ffc6b70b6" providerId="ADAL" clId="{FF1D73EE-BDE1-40A6-9B6D-957CBA750965}" dt="2024-07-03T07:38:00.565" v="307"/>
          <ac:spMkLst>
            <pc:docMk/>
            <pc:sldMk cId="3857656806" sldId="268"/>
            <ac:spMk id="13" creationId="{48BFAF43-EB1E-6297-9A51-A5BF584451DA}"/>
          </ac:spMkLst>
        </pc:spChg>
        <pc:graphicFrameChg chg="mod">
          <ac:chgData name="Dimitri Militschenko" userId="2698819e-f51f-4938-ae1b-875ffc6b70b6" providerId="ADAL" clId="{FF1D73EE-BDE1-40A6-9B6D-957CBA750965}" dt="2024-07-03T07:38:00.576" v="315"/>
          <ac:graphicFrameMkLst>
            <pc:docMk/>
            <pc:sldMk cId="3857656806" sldId="268"/>
            <ac:graphicFrameMk id="2" creationId="{933053D3-4431-4B6F-A6DC-AE85B08B2637}"/>
          </ac:graphicFrameMkLst>
        </pc:graphicFrameChg>
        <pc:picChg chg="del">
          <ac:chgData name="Dimitri Militschenko" userId="2698819e-f51f-4938-ae1b-875ffc6b70b6" providerId="ADAL" clId="{FF1D73EE-BDE1-40A6-9B6D-957CBA750965}" dt="2024-07-02T16:35:21.963" v="188" actId="478"/>
          <ac:picMkLst>
            <pc:docMk/>
            <pc:sldMk cId="3857656806" sldId="268"/>
            <ac:picMk id="3" creationId="{020AB622-FE5F-187A-D00A-1E6D95B49324}"/>
          </ac:picMkLst>
        </pc:picChg>
        <pc:picChg chg="add mod ord modCrop">
          <ac:chgData name="Dimitri Militschenko" userId="2698819e-f51f-4938-ae1b-875ffc6b70b6" providerId="ADAL" clId="{FF1D73EE-BDE1-40A6-9B6D-957CBA750965}" dt="2024-07-03T07:38:00.565" v="309"/>
          <ac:picMkLst>
            <pc:docMk/>
            <pc:sldMk cId="3857656806" sldId="268"/>
            <ac:picMk id="5" creationId="{104EBAD3-5019-CD4D-C07F-073EAF5BE0B9}"/>
          </ac:picMkLst>
        </pc:picChg>
        <pc:picChg chg="del">
          <ac:chgData name="Dimitri Militschenko" userId="2698819e-f51f-4938-ae1b-875ffc6b70b6" providerId="ADAL" clId="{FF1D73EE-BDE1-40A6-9B6D-957CBA750965}" dt="2024-07-02T16:35:22.958" v="190" actId="478"/>
          <ac:picMkLst>
            <pc:docMk/>
            <pc:sldMk cId="3857656806" sldId="268"/>
            <ac:picMk id="5" creationId="{115CE0F5-8AEC-857E-76ED-14C8CC717408}"/>
          </ac:picMkLst>
        </pc:picChg>
        <pc:picChg chg="add mod ord">
          <ac:chgData name="Dimitri Militschenko" userId="2698819e-f51f-4938-ae1b-875ffc6b70b6" providerId="ADAL" clId="{FF1D73EE-BDE1-40A6-9B6D-957CBA750965}" dt="2024-07-03T07:38:00.563" v="301"/>
          <ac:picMkLst>
            <pc:docMk/>
            <pc:sldMk cId="3857656806" sldId="268"/>
            <ac:picMk id="8" creationId="{C546AD4B-F440-27DE-7585-4FE94BC111FF}"/>
          </ac:picMkLst>
        </pc:picChg>
        <pc:picChg chg="add mod ord">
          <ac:chgData name="Dimitri Militschenko" userId="2698819e-f51f-4938-ae1b-875ffc6b70b6" providerId="ADAL" clId="{FF1D73EE-BDE1-40A6-9B6D-957CBA750965}" dt="2024-07-03T07:38:00.564" v="303"/>
          <ac:picMkLst>
            <pc:docMk/>
            <pc:sldMk cId="3857656806" sldId="268"/>
            <ac:picMk id="9" creationId="{F734BF6E-CCD8-AE7E-B6E2-4DAE3DB7AD36}"/>
          </ac:picMkLst>
        </pc:picChg>
        <pc:picChg chg="add mod ord">
          <ac:chgData name="Dimitri Militschenko" userId="2698819e-f51f-4938-ae1b-875ffc6b70b6" providerId="ADAL" clId="{FF1D73EE-BDE1-40A6-9B6D-957CBA750965}" dt="2024-07-03T07:38:28.631" v="321" actId="14100"/>
          <ac:picMkLst>
            <pc:docMk/>
            <pc:sldMk cId="3857656806" sldId="268"/>
            <ac:picMk id="10" creationId="{01AEE9E7-CAC7-FA54-95D4-46780DE9E255}"/>
          </ac:picMkLst>
        </pc:picChg>
        <pc:picChg chg="add del mod">
          <ac:chgData name="Dimitri Militschenko" userId="2698819e-f51f-4938-ae1b-875ffc6b70b6" providerId="ADAL" clId="{FF1D73EE-BDE1-40A6-9B6D-957CBA750965}" dt="2024-07-03T07:37:17.616" v="295" actId="478"/>
          <ac:picMkLst>
            <pc:docMk/>
            <pc:sldMk cId="3857656806" sldId="268"/>
            <ac:picMk id="11" creationId="{B51D2196-3E06-5D2E-B9E5-6CF0814A6555}"/>
          </ac:picMkLst>
        </pc:picChg>
      </pc:sldChg>
      <pc:sldChg chg="modSp mod">
        <pc:chgData name="Dimitri Militschenko" userId="2698819e-f51f-4938-ae1b-875ffc6b70b6" providerId="ADAL" clId="{FF1D73EE-BDE1-40A6-9B6D-957CBA750965}" dt="2024-07-02T16:33:16.229" v="45" actId="20577"/>
        <pc:sldMkLst>
          <pc:docMk/>
          <pc:sldMk cId="1595703888" sldId="2147474933"/>
        </pc:sldMkLst>
        <pc:spChg chg="mod">
          <ac:chgData name="Dimitri Militschenko" userId="2698819e-f51f-4938-ae1b-875ffc6b70b6" providerId="ADAL" clId="{FF1D73EE-BDE1-40A6-9B6D-957CBA750965}" dt="2024-07-02T16:31:38.901" v="28" actId="20577"/>
          <ac:spMkLst>
            <pc:docMk/>
            <pc:sldMk cId="1595703888" sldId="2147474933"/>
            <ac:spMk id="5" creationId="{3095CD59-4895-4C6D-88A7-6ADB9E88D4F5}"/>
          </ac:spMkLst>
        </pc:spChg>
        <pc:spChg chg="mod">
          <ac:chgData name="Dimitri Militschenko" userId="2698819e-f51f-4938-ae1b-875ffc6b70b6" providerId="ADAL" clId="{FF1D73EE-BDE1-40A6-9B6D-957CBA750965}" dt="2024-07-02T16:33:16.229" v="45" actId="20577"/>
          <ac:spMkLst>
            <pc:docMk/>
            <pc:sldMk cId="1595703888" sldId="2147474933"/>
            <ac:spMk id="6" creationId="{723E1BD3-552E-49A5-B2A6-1038DF60EC3B}"/>
          </ac:spMkLst>
        </pc:spChg>
        <pc:spChg chg="mod">
          <ac:chgData name="Dimitri Militschenko" userId="2698819e-f51f-4938-ae1b-875ffc6b70b6" providerId="ADAL" clId="{FF1D73EE-BDE1-40A6-9B6D-957CBA750965}" dt="2024-07-02T16:31:50.354" v="29" actId="1076"/>
          <ac:spMkLst>
            <pc:docMk/>
            <pc:sldMk cId="1595703888" sldId="2147474933"/>
            <ac:spMk id="7" creationId="{BDCCFC52-8BC8-8AFA-6AD0-B4C1C7E6924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75447-FF91-403A-87DA-AA5C1597B6A7}" type="datetimeFigureOut">
              <a:rPr lang="nl-NL" smtClean="0"/>
              <a:t>3-7-2024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BDC015-A209-45C5-9B46-5FC5C3A697D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801535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DEEE3-E309-D349-8C20-57C71CD85C02}" type="datetimeFigureOut">
              <a:rPr lang="x-none" smtClean="0"/>
              <a:t>03.07.2024</a:t>
            </a:fld>
            <a:endParaRPr lang="x-non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x-non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x-non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8CA4D0-5719-7047-8FA7-C4CEECD20671}" type="slidenum">
              <a:rPr lang="x-none" smtClean="0"/>
              <a:t>‹Nr.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361835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nur 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147D943-92F0-499A-A4BB-FA1783BFF1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4909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147D943-92F0-499A-A4BB-FA1783BFF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5">
            <a:alphaModFix/>
          </a:blip>
          <a:srcRect t="12379" b="52729"/>
          <a:stretch/>
        </p:blipFill>
        <p:spPr>
          <a:xfrm>
            <a:off x="421437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4402979" y="3088803"/>
            <a:ext cx="338039" cy="338039"/>
          </a:xfrm>
          <a:prstGeom prst="ellipse">
            <a:avLst/>
          </a:prstGeom>
          <a:solidFill>
            <a:srgbClr val="FF860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20DD98EB-8C32-A544-A560-B116E2AF37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vert="horz"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8" name="Afbeelding 3">
            <a:extLst>
              <a:ext uri="{FF2B5EF4-FFF2-40B4-BE49-F238E27FC236}">
                <a16:creationId xmlns:a16="http://schemas.microsoft.com/office/drawing/2014/main" id="{ECCBA166-02D1-F941-A2C6-223A96E419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8315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80866" y="1001728"/>
            <a:ext cx="6430600" cy="2783891"/>
          </a:xfrm>
        </p:spPr>
        <p:txBody>
          <a:bodyPr anchor="ctr" anchorCtr="0"/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06F21EC-D05F-6743-A41E-4A396F08FD31}"/>
              </a:ext>
            </a:extLst>
          </p:cNvPr>
          <p:cNvSpPr txBox="1">
            <a:spLocks/>
          </p:cNvSpPr>
          <p:nvPr userDrawn="1"/>
        </p:nvSpPr>
        <p:spPr>
          <a:xfrm>
            <a:off x="770901" y="1072513"/>
            <a:ext cx="549899" cy="6111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66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E2A608D-37E6-7C40-96C7-CDB45CEE16AD}"/>
              </a:ext>
            </a:extLst>
          </p:cNvPr>
          <p:cNvSpPr txBox="1">
            <a:spLocks/>
          </p:cNvSpPr>
          <p:nvPr userDrawn="1"/>
        </p:nvSpPr>
        <p:spPr>
          <a:xfrm rot="10800000">
            <a:off x="7562183" y="3785619"/>
            <a:ext cx="459248" cy="6111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r"/>
            <a:r>
              <a:rPr lang="en-US" sz="6600" dirty="0">
                <a:solidFill>
                  <a:schemeClr val="tx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“</a:t>
            </a:r>
          </a:p>
        </p:txBody>
      </p:sp>
    </p:spTree>
    <p:extLst>
      <p:ext uri="{BB962C8B-B14F-4D97-AF65-F5344CB8AC3E}">
        <p14:creationId xmlns:p14="http://schemas.microsoft.com/office/powerpoint/2010/main" val="3327541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32"/>
          </p:nvPr>
        </p:nvSpPr>
        <p:spPr>
          <a:xfrm>
            <a:off x="460374" y="1781175"/>
            <a:ext cx="8188325" cy="2762250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410" y="165671"/>
            <a:ext cx="8178290" cy="540000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3384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50460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0">
            <a:extLst>
              <a:ext uri="{FF2B5EF4-FFF2-40B4-BE49-F238E27FC236}">
                <a16:creationId xmlns:a16="http://schemas.microsoft.com/office/drawing/2014/main" id="{9FD8CCB3-5FAD-4200-8020-9CA93D6FCFCE}"/>
              </a:ext>
            </a:extLst>
          </p:cNvPr>
          <p:cNvSpPr/>
          <p:nvPr userDrawn="1"/>
        </p:nvSpPr>
        <p:spPr>
          <a:xfrm>
            <a:off x="0" y="0"/>
            <a:ext cx="2677363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000" dirty="0" err="1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678369"/>
            <a:ext cx="2048256" cy="10901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3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38"/>
          </p:nvPr>
        </p:nvSpPr>
        <p:spPr>
          <a:xfrm>
            <a:off x="3663390" y="278223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43" hasCustomPrompt="1"/>
          </p:nvPr>
        </p:nvSpPr>
        <p:spPr>
          <a:xfrm>
            <a:off x="3363224" y="341554"/>
            <a:ext cx="223467" cy="223467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1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44"/>
          </p:nvPr>
        </p:nvSpPr>
        <p:spPr>
          <a:xfrm>
            <a:off x="3663390" y="813797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3" name="Tijdelijke aanduiding voor tekst 3"/>
          <p:cNvSpPr>
            <a:spLocks noGrp="1"/>
          </p:cNvSpPr>
          <p:nvPr>
            <p:ph type="body" sz="quarter" idx="46" hasCustomPrompt="1"/>
          </p:nvPr>
        </p:nvSpPr>
        <p:spPr>
          <a:xfrm>
            <a:off x="3363224" y="876207"/>
            <a:ext cx="223467" cy="223467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6" name="Tijdelijke aanduiding voor tekst 3"/>
          <p:cNvSpPr>
            <a:spLocks noGrp="1"/>
          </p:cNvSpPr>
          <p:nvPr>
            <p:ph type="body" sz="quarter" idx="49" hasCustomPrompt="1"/>
          </p:nvPr>
        </p:nvSpPr>
        <p:spPr>
          <a:xfrm>
            <a:off x="3363224" y="1416985"/>
            <a:ext cx="223467" cy="223467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7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50"/>
          </p:nvPr>
        </p:nvSpPr>
        <p:spPr>
          <a:xfrm>
            <a:off x="3663390" y="1880617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9" name="Tijdelijke aanduiding voor tekst 3"/>
          <p:cNvSpPr>
            <a:spLocks noGrp="1"/>
          </p:cNvSpPr>
          <p:nvPr>
            <p:ph type="body" sz="quarter" idx="52" hasCustomPrompt="1"/>
          </p:nvPr>
        </p:nvSpPr>
        <p:spPr>
          <a:xfrm>
            <a:off x="3363224" y="1940290"/>
            <a:ext cx="223467" cy="223467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5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53"/>
          </p:nvPr>
        </p:nvSpPr>
        <p:spPr>
          <a:xfrm>
            <a:off x="3663390" y="2407519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8" name="Tijdelijke aanduiding voor tekst 3"/>
          <p:cNvSpPr>
            <a:spLocks noGrp="1"/>
          </p:cNvSpPr>
          <p:nvPr>
            <p:ph type="body" sz="quarter" idx="55" hasCustomPrompt="1"/>
          </p:nvPr>
        </p:nvSpPr>
        <p:spPr>
          <a:xfrm>
            <a:off x="3363224" y="2466155"/>
            <a:ext cx="223467" cy="223467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9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56"/>
          </p:nvPr>
        </p:nvSpPr>
        <p:spPr>
          <a:xfrm>
            <a:off x="3663390" y="2934421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1" name="Tijdelijke aanduiding voor tekst 3"/>
          <p:cNvSpPr>
            <a:spLocks noGrp="1"/>
          </p:cNvSpPr>
          <p:nvPr>
            <p:ph type="body" sz="quarter" idx="58" hasCustomPrompt="1"/>
          </p:nvPr>
        </p:nvSpPr>
        <p:spPr>
          <a:xfrm>
            <a:off x="3363224" y="2994094"/>
            <a:ext cx="223467" cy="223467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23" name="Google Shape;529;p5">
            <a:extLst>
              <a:ext uri="{FF2B5EF4-FFF2-40B4-BE49-F238E27FC236}">
                <a16:creationId xmlns:a16="http://schemas.microsoft.com/office/drawing/2014/main" id="{EC87B6DB-51C0-BF40-94D8-6C24EFBC90EE}"/>
              </a:ext>
            </a:extLst>
          </p:cNvPr>
          <p:cNvSpPr txBox="1">
            <a:spLocks noGrp="1"/>
          </p:cNvSpPr>
          <p:nvPr>
            <p:ph type="body" idx="59"/>
          </p:nvPr>
        </p:nvSpPr>
        <p:spPr>
          <a:xfrm>
            <a:off x="3663390" y="3461323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6" name="Tijdelijke aanduiding voor tekst 3">
            <a:extLst>
              <a:ext uri="{FF2B5EF4-FFF2-40B4-BE49-F238E27FC236}">
                <a16:creationId xmlns:a16="http://schemas.microsoft.com/office/drawing/2014/main" id="{094FCD57-E61F-424E-8D05-FBF0E60BAA0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363224" y="3519959"/>
            <a:ext cx="223467" cy="223467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7" name="Google Shape;529;p5">
            <a:extLst>
              <a:ext uri="{FF2B5EF4-FFF2-40B4-BE49-F238E27FC236}">
                <a16:creationId xmlns:a16="http://schemas.microsoft.com/office/drawing/2014/main" id="{533A7908-3E83-9F42-97F6-AAD0205AED03}"/>
              </a:ext>
            </a:extLst>
          </p:cNvPr>
          <p:cNvSpPr txBox="1">
            <a:spLocks noGrp="1"/>
          </p:cNvSpPr>
          <p:nvPr>
            <p:ph type="body" idx="61"/>
          </p:nvPr>
        </p:nvSpPr>
        <p:spPr>
          <a:xfrm>
            <a:off x="3663390" y="3988225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C1130F61-4353-D448-90E8-069B417DE9B0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363224" y="4047898"/>
            <a:ext cx="223467" cy="223467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9" name="Google Shape;529;p5">
            <a:extLst>
              <a:ext uri="{FF2B5EF4-FFF2-40B4-BE49-F238E27FC236}">
                <a16:creationId xmlns:a16="http://schemas.microsoft.com/office/drawing/2014/main" id="{59855E81-FC85-194C-A10F-E15F449E03B1}"/>
              </a:ext>
            </a:extLst>
          </p:cNvPr>
          <p:cNvSpPr txBox="1">
            <a:spLocks noGrp="1"/>
          </p:cNvSpPr>
          <p:nvPr>
            <p:ph type="body" idx="63"/>
          </p:nvPr>
        </p:nvSpPr>
        <p:spPr>
          <a:xfrm>
            <a:off x="3663390" y="1347207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0" name="Google Shape;529;p5">
            <a:extLst>
              <a:ext uri="{FF2B5EF4-FFF2-40B4-BE49-F238E27FC236}">
                <a16:creationId xmlns:a16="http://schemas.microsoft.com/office/drawing/2014/main" id="{D9707A8B-FA68-3946-80EA-6430F37C31C8}"/>
              </a:ext>
            </a:extLst>
          </p:cNvPr>
          <p:cNvSpPr txBox="1">
            <a:spLocks noGrp="1"/>
          </p:cNvSpPr>
          <p:nvPr>
            <p:ph type="body" idx="64"/>
          </p:nvPr>
        </p:nvSpPr>
        <p:spPr>
          <a:xfrm>
            <a:off x="3663390" y="4514630"/>
            <a:ext cx="3833824" cy="287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50" name="Tijdelijke aanduiding voor tekst 3">
            <a:extLst>
              <a:ext uri="{FF2B5EF4-FFF2-40B4-BE49-F238E27FC236}">
                <a16:creationId xmlns:a16="http://schemas.microsoft.com/office/drawing/2014/main" id="{AF207E04-B2CE-3C4B-B504-9089AD592F0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363224" y="4573266"/>
            <a:ext cx="223467" cy="223467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pic>
        <p:nvPicPr>
          <p:cNvPr id="24" name="Afbeelding 25">
            <a:extLst>
              <a:ext uri="{FF2B5EF4-FFF2-40B4-BE49-F238E27FC236}">
                <a16:creationId xmlns:a16="http://schemas.microsoft.com/office/drawing/2014/main" id="{F8DDF0AD-8765-E14B-A748-520155B81B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117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mit Numm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434497" y="158794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5" name="Google Shape;529;p5">
            <a:extLst>
              <a:ext uri="{FF2B5EF4-FFF2-40B4-BE49-F238E27FC236}">
                <a16:creationId xmlns:a16="http://schemas.microsoft.com/office/drawing/2014/main" id="{85099D95-9FE9-E545-A59D-7DB28BC30D99}"/>
              </a:ext>
            </a:extLst>
          </p:cNvPr>
          <p:cNvSpPr txBox="1">
            <a:spLocks noGrp="1"/>
          </p:cNvSpPr>
          <p:nvPr>
            <p:ph type="body" idx="14" hasCustomPrompt="1"/>
          </p:nvPr>
        </p:nvSpPr>
        <p:spPr>
          <a:xfrm>
            <a:off x="3256724" y="158794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2</a:t>
            </a:r>
            <a:endParaRPr dirty="0"/>
          </a:p>
        </p:txBody>
      </p:sp>
      <p:sp>
        <p:nvSpPr>
          <p:cNvPr id="27" name="Google Shape;529;p5">
            <a:extLst>
              <a:ext uri="{FF2B5EF4-FFF2-40B4-BE49-F238E27FC236}">
                <a16:creationId xmlns:a16="http://schemas.microsoft.com/office/drawing/2014/main" id="{78840DCD-8395-4A4A-B298-73452CECBB42}"/>
              </a:ext>
            </a:extLst>
          </p:cNvPr>
          <p:cNvSpPr txBox="1">
            <a:spLocks noGrp="1"/>
          </p:cNvSpPr>
          <p:nvPr>
            <p:ph type="body" idx="16" hasCustomPrompt="1"/>
          </p:nvPr>
        </p:nvSpPr>
        <p:spPr>
          <a:xfrm>
            <a:off x="6037264" y="158794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3</a:t>
            </a:r>
            <a:endParaRPr dirty="0"/>
          </a:p>
        </p:txBody>
      </p:sp>
      <p:sp>
        <p:nvSpPr>
          <p:cNvPr id="29" name="Google Shape;529;p5">
            <a:extLst>
              <a:ext uri="{FF2B5EF4-FFF2-40B4-BE49-F238E27FC236}">
                <a16:creationId xmlns:a16="http://schemas.microsoft.com/office/drawing/2014/main" id="{127EFF24-7D04-354A-9A48-250067157FD4}"/>
              </a:ext>
            </a:extLst>
          </p:cNvPr>
          <p:cNvSpPr txBox="1">
            <a:spLocks noGrp="1"/>
          </p:cNvSpPr>
          <p:nvPr>
            <p:ph type="body" idx="18" hasCustomPrompt="1"/>
          </p:nvPr>
        </p:nvSpPr>
        <p:spPr>
          <a:xfrm>
            <a:off x="434497" y="290239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4</a:t>
            </a:r>
            <a:endParaRPr dirty="0"/>
          </a:p>
        </p:txBody>
      </p:sp>
      <p:sp>
        <p:nvSpPr>
          <p:cNvPr id="31" name="Google Shape;529;p5">
            <a:extLst>
              <a:ext uri="{FF2B5EF4-FFF2-40B4-BE49-F238E27FC236}">
                <a16:creationId xmlns:a16="http://schemas.microsoft.com/office/drawing/2014/main" id="{DBD1C477-A465-5742-B47E-A949A315E4A3}"/>
              </a:ext>
            </a:extLst>
          </p:cNvPr>
          <p:cNvSpPr txBox="1">
            <a:spLocks noGrp="1"/>
          </p:cNvSpPr>
          <p:nvPr>
            <p:ph type="body" idx="20" hasCustomPrompt="1"/>
          </p:nvPr>
        </p:nvSpPr>
        <p:spPr>
          <a:xfrm>
            <a:off x="3256724" y="290239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5</a:t>
            </a:r>
            <a:endParaRPr dirty="0"/>
          </a:p>
        </p:txBody>
      </p:sp>
      <p:sp>
        <p:nvSpPr>
          <p:cNvPr id="33" name="Google Shape;529;p5">
            <a:extLst>
              <a:ext uri="{FF2B5EF4-FFF2-40B4-BE49-F238E27FC236}">
                <a16:creationId xmlns:a16="http://schemas.microsoft.com/office/drawing/2014/main" id="{3F257379-1B14-1D4A-A39E-7368C11C294D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6037264" y="2902399"/>
            <a:ext cx="2565782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600" b="1">
                <a:solidFill>
                  <a:schemeClr val="tx2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x-none" dirty="0"/>
              <a:t>06</a:t>
            </a:r>
            <a:endParaRPr dirty="0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8" hasCustomPrompt="1"/>
          </p:nvPr>
        </p:nvSpPr>
        <p:spPr>
          <a:xfrm>
            <a:off x="434497" y="1997405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4" name="Tijdelijke aanduiding voor tekst 4"/>
          <p:cNvSpPr>
            <a:spLocks noGrp="1"/>
          </p:cNvSpPr>
          <p:nvPr>
            <p:ph type="body" sz="quarter" idx="39" hasCustomPrompt="1"/>
          </p:nvPr>
        </p:nvSpPr>
        <p:spPr>
          <a:xfrm>
            <a:off x="6037264" y="1997405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5" name="Tijdelijke aanduiding voor tekst 4"/>
          <p:cNvSpPr>
            <a:spLocks noGrp="1"/>
          </p:cNvSpPr>
          <p:nvPr>
            <p:ph type="body" sz="quarter" idx="40" hasCustomPrompt="1"/>
          </p:nvPr>
        </p:nvSpPr>
        <p:spPr>
          <a:xfrm>
            <a:off x="3256724" y="1997405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6" name="Tijdelijke aanduiding voor tekst 4"/>
          <p:cNvSpPr>
            <a:spLocks noGrp="1"/>
          </p:cNvSpPr>
          <p:nvPr>
            <p:ph type="body" sz="quarter" idx="41" hasCustomPrompt="1"/>
          </p:nvPr>
        </p:nvSpPr>
        <p:spPr>
          <a:xfrm>
            <a:off x="434497" y="3316284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7" name="Tijdelijke aanduiding voor tekst 4"/>
          <p:cNvSpPr>
            <a:spLocks noGrp="1"/>
          </p:cNvSpPr>
          <p:nvPr>
            <p:ph type="body" sz="quarter" idx="42" hasCustomPrompt="1"/>
          </p:nvPr>
        </p:nvSpPr>
        <p:spPr>
          <a:xfrm>
            <a:off x="6037264" y="3316284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8" name="Tijdelijke aanduiding voor tekst 4"/>
          <p:cNvSpPr>
            <a:spLocks noGrp="1"/>
          </p:cNvSpPr>
          <p:nvPr>
            <p:ph type="body" sz="quarter" idx="43" hasCustomPrompt="1"/>
          </p:nvPr>
        </p:nvSpPr>
        <p:spPr>
          <a:xfrm>
            <a:off x="3256724" y="3316284"/>
            <a:ext cx="2555684" cy="626400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78617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mi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529;p5">
            <a:extLst>
              <a:ext uri="{FF2B5EF4-FFF2-40B4-BE49-F238E27FC236}">
                <a16:creationId xmlns:a16="http://schemas.microsoft.com/office/drawing/2014/main" id="{78828824-1475-FC48-8BE5-2A71F4EA041B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876298" y="1720074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9" name="Google Shape;529;p5">
            <a:extLst>
              <a:ext uri="{FF2B5EF4-FFF2-40B4-BE49-F238E27FC236}">
                <a16:creationId xmlns:a16="http://schemas.microsoft.com/office/drawing/2014/main" id="{DD194EAF-9309-9549-9C6E-7D274D85B8AA}"/>
              </a:ext>
            </a:extLst>
          </p:cNvPr>
          <p:cNvSpPr txBox="1">
            <a:spLocks noGrp="1"/>
          </p:cNvSpPr>
          <p:nvPr>
            <p:ph type="body" idx="24"/>
          </p:nvPr>
        </p:nvSpPr>
        <p:spPr>
          <a:xfrm>
            <a:off x="3638548" y="1720074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0" name="Google Shape;529;p5">
            <a:extLst>
              <a:ext uri="{FF2B5EF4-FFF2-40B4-BE49-F238E27FC236}">
                <a16:creationId xmlns:a16="http://schemas.microsoft.com/office/drawing/2014/main" id="{436D0639-A2F9-5040-9C98-0AAF70943C29}"/>
              </a:ext>
            </a:extLst>
          </p:cNvPr>
          <p:cNvSpPr txBox="1">
            <a:spLocks noGrp="1"/>
          </p:cNvSpPr>
          <p:nvPr>
            <p:ph type="body" idx="25"/>
          </p:nvPr>
        </p:nvSpPr>
        <p:spPr>
          <a:xfrm>
            <a:off x="6436928" y="1720074"/>
            <a:ext cx="2211772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1" name="Google Shape;529;p5">
            <a:extLst>
              <a:ext uri="{FF2B5EF4-FFF2-40B4-BE49-F238E27FC236}">
                <a16:creationId xmlns:a16="http://schemas.microsoft.com/office/drawing/2014/main" id="{595C3C11-9D01-8E4A-8C91-94D86F012722}"/>
              </a:ext>
            </a:extLst>
          </p:cNvPr>
          <p:cNvSpPr txBox="1">
            <a:spLocks noGrp="1"/>
          </p:cNvSpPr>
          <p:nvPr>
            <p:ph type="body" idx="27"/>
          </p:nvPr>
        </p:nvSpPr>
        <p:spPr>
          <a:xfrm>
            <a:off x="876298" y="2958939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4" name="Google Shape;529;p5">
            <a:extLst>
              <a:ext uri="{FF2B5EF4-FFF2-40B4-BE49-F238E27FC236}">
                <a16:creationId xmlns:a16="http://schemas.microsoft.com/office/drawing/2014/main" id="{341CF658-CE02-2A41-AF21-B4C03771F5B8}"/>
              </a:ext>
            </a:extLst>
          </p:cNvPr>
          <p:cNvSpPr txBox="1">
            <a:spLocks noGrp="1"/>
          </p:cNvSpPr>
          <p:nvPr>
            <p:ph type="body" idx="30"/>
          </p:nvPr>
        </p:nvSpPr>
        <p:spPr>
          <a:xfrm>
            <a:off x="3638548" y="2958939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9" name="Tijdelijke aanduiding voor tekst 4"/>
          <p:cNvSpPr>
            <a:spLocks noGrp="1"/>
          </p:cNvSpPr>
          <p:nvPr>
            <p:ph type="body" sz="quarter" idx="38" hasCustomPrompt="1"/>
          </p:nvPr>
        </p:nvSpPr>
        <p:spPr>
          <a:xfrm>
            <a:off x="534987" y="2167223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0" name="Tijdelijke aanduiding voor tekst 4"/>
          <p:cNvSpPr>
            <a:spLocks noGrp="1"/>
          </p:cNvSpPr>
          <p:nvPr>
            <p:ph type="body" sz="quarter" idx="39" hasCustomPrompt="1"/>
          </p:nvPr>
        </p:nvSpPr>
        <p:spPr>
          <a:xfrm>
            <a:off x="3309578" y="2167223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1" name="Tijdelijke aanduiding voor tekst 4"/>
          <p:cNvSpPr>
            <a:spLocks noGrp="1"/>
          </p:cNvSpPr>
          <p:nvPr>
            <p:ph type="body" sz="quarter" idx="40" hasCustomPrompt="1"/>
          </p:nvPr>
        </p:nvSpPr>
        <p:spPr>
          <a:xfrm>
            <a:off x="6084168" y="2167223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2" name="Tijdelijke aanduiding voor tekst 3"/>
          <p:cNvSpPr>
            <a:spLocks noGrp="1"/>
          </p:cNvSpPr>
          <p:nvPr>
            <p:ph type="body" sz="quarter" idx="42" hasCustomPrompt="1"/>
          </p:nvPr>
        </p:nvSpPr>
        <p:spPr>
          <a:xfrm>
            <a:off x="3310395" y="1761159"/>
            <a:ext cx="252000" cy="2520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3" name="Tijdelijke aanduiding voor tekst 3"/>
          <p:cNvSpPr>
            <a:spLocks noGrp="1"/>
          </p:cNvSpPr>
          <p:nvPr>
            <p:ph type="body" sz="quarter" idx="43" hasCustomPrompt="1"/>
          </p:nvPr>
        </p:nvSpPr>
        <p:spPr>
          <a:xfrm>
            <a:off x="535894" y="1761159"/>
            <a:ext cx="252000" cy="2520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44" hasCustomPrompt="1"/>
          </p:nvPr>
        </p:nvSpPr>
        <p:spPr>
          <a:xfrm>
            <a:off x="6075898" y="1761159"/>
            <a:ext cx="252000" cy="252000"/>
          </a:xfrm>
          <a:prstGeom prst="ellipse">
            <a:avLst/>
          </a:prstGeom>
          <a:solidFill>
            <a:schemeClr val="accent6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7" name="Tijdelijke aanduiding voor tekst 3"/>
          <p:cNvSpPr>
            <a:spLocks noGrp="1"/>
          </p:cNvSpPr>
          <p:nvPr>
            <p:ph type="body" sz="quarter" idx="45" hasCustomPrompt="1"/>
          </p:nvPr>
        </p:nvSpPr>
        <p:spPr>
          <a:xfrm>
            <a:off x="3310395" y="2989166"/>
            <a:ext cx="252000" cy="252000"/>
          </a:xfrm>
          <a:prstGeom prst="ellipse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38" name="Tijdelijke aanduiding voor tekst 3"/>
          <p:cNvSpPr>
            <a:spLocks noGrp="1"/>
          </p:cNvSpPr>
          <p:nvPr>
            <p:ph type="body" sz="quarter" idx="46" hasCustomPrompt="1"/>
          </p:nvPr>
        </p:nvSpPr>
        <p:spPr>
          <a:xfrm>
            <a:off x="535894" y="2989166"/>
            <a:ext cx="252000" cy="252000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5" name="Tijdelijke aanduiding voor tekst 4"/>
          <p:cNvSpPr>
            <a:spLocks noGrp="1"/>
          </p:cNvSpPr>
          <p:nvPr>
            <p:ph type="body" sz="quarter" idx="47" hasCustomPrompt="1"/>
          </p:nvPr>
        </p:nvSpPr>
        <p:spPr>
          <a:xfrm>
            <a:off x="534987" y="3423724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46" name="Tijdelijke aanduiding voor tekst 4"/>
          <p:cNvSpPr>
            <a:spLocks noGrp="1"/>
          </p:cNvSpPr>
          <p:nvPr>
            <p:ph type="body" sz="quarter" idx="48" hasCustomPrompt="1"/>
          </p:nvPr>
        </p:nvSpPr>
        <p:spPr>
          <a:xfrm>
            <a:off x="3309578" y="3423724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470410" y="165671"/>
            <a:ext cx="8178290" cy="540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8120538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Google Shape;529;p5">
            <a:extLst>
              <a:ext uri="{FF2B5EF4-FFF2-40B4-BE49-F238E27FC236}">
                <a16:creationId xmlns:a16="http://schemas.microsoft.com/office/drawing/2014/main" id="{341CF658-CE02-2A41-AF21-B4C03771F5B8}"/>
              </a:ext>
            </a:extLst>
          </p:cNvPr>
          <p:cNvSpPr txBox="1">
            <a:spLocks noGrp="1"/>
          </p:cNvSpPr>
          <p:nvPr>
            <p:ph type="body" idx="50"/>
          </p:nvPr>
        </p:nvSpPr>
        <p:spPr>
          <a:xfrm>
            <a:off x="6436928" y="2958939"/>
            <a:ext cx="2232000" cy="3017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360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40" name="Tijdelijke aanduiding voor tekst 3"/>
          <p:cNvSpPr>
            <a:spLocks noGrp="1"/>
          </p:cNvSpPr>
          <p:nvPr>
            <p:ph type="body" sz="quarter" idx="51" hasCustomPrompt="1"/>
          </p:nvPr>
        </p:nvSpPr>
        <p:spPr>
          <a:xfrm>
            <a:off x="6075898" y="2989166"/>
            <a:ext cx="252000" cy="252000"/>
          </a:xfrm>
          <a:prstGeom prst="ellipse">
            <a:avLst/>
          </a:prstGeom>
          <a:solidFill>
            <a:schemeClr val="accent4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42" name="Tijdelijke aanduiding voor tekst 4"/>
          <p:cNvSpPr>
            <a:spLocks noGrp="1"/>
          </p:cNvSpPr>
          <p:nvPr>
            <p:ph type="body" sz="quarter" idx="52" hasCustomPrompt="1"/>
          </p:nvPr>
        </p:nvSpPr>
        <p:spPr>
          <a:xfrm>
            <a:off x="6084168" y="3423724"/>
            <a:ext cx="2562999" cy="573676"/>
          </a:xfrm>
        </p:spPr>
        <p:txBody>
          <a:bodyPr lIns="90000"/>
          <a:lstStyle>
            <a:lvl1pPr>
              <a:defRPr sz="800"/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86254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blöcke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B1E41DEE-83D7-D94C-8A9D-32CE051E6E5C}"/>
              </a:ext>
            </a:extLst>
          </p:cNvPr>
          <p:cNvSpPr/>
          <p:nvPr userDrawn="1"/>
        </p:nvSpPr>
        <p:spPr>
          <a:xfrm>
            <a:off x="5073446" y="0"/>
            <a:ext cx="4070554" cy="229649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4FF02364-9071-194C-958B-88EE11FA31B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600325" y="0"/>
            <a:ext cx="2584450" cy="22970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890243-2885-DF45-AFFD-36ADD02069BA}"/>
              </a:ext>
            </a:extLst>
          </p:cNvPr>
          <p:cNvSpPr/>
          <p:nvPr userDrawn="1"/>
        </p:nvSpPr>
        <p:spPr>
          <a:xfrm>
            <a:off x="-2528" y="0"/>
            <a:ext cx="2602853" cy="2296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3" name="Google Shape;526;p5">
            <a:extLst>
              <a:ext uri="{FF2B5EF4-FFF2-40B4-BE49-F238E27FC236}">
                <a16:creationId xmlns:a16="http://schemas.microsoft.com/office/drawing/2014/main" id="{660E98A9-1604-6448-B138-AB49A36FBB4C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665039" y="847725"/>
            <a:ext cx="1724327" cy="1301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24" name="Google Shape;529;p5">
            <a:extLst>
              <a:ext uri="{FF2B5EF4-FFF2-40B4-BE49-F238E27FC236}">
                <a16:creationId xmlns:a16="http://schemas.microsoft.com/office/drawing/2014/main" id="{642E18C3-8A1C-8740-99DB-4538427B73BD}"/>
              </a:ext>
            </a:extLst>
          </p:cNvPr>
          <p:cNvSpPr txBox="1">
            <a:spLocks noGrp="1"/>
          </p:cNvSpPr>
          <p:nvPr>
            <p:ph type="body" idx="36"/>
          </p:nvPr>
        </p:nvSpPr>
        <p:spPr>
          <a:xfrm>
            <a:off x="665039" y="368346"/>
            <a:ext cx="1724327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5" name="Google Shape;526;p5">
            <a:extLst>
              <a:ext uri="{FF2B5EF4-FFF2-40B4-BE49-F238E27FC236}">
                <a16:creationId xmlns:a16="http://schemas.microsoft.com/office/drawing/2014/main" id="{3ADE0F66-DEFA-D14A-B0E0-1394C4A9BEBD}"/>
              </a:ext>
            </a:extLst>
          </p:cNvPr>
          <p:cNvSpPr txBox="1">
            <a:spLocks noGrp="1"/>
          </p:cNvSpPr>
          <p:nvPr>
            <p:ph type="body" idx="37" hasCustomPrompt="1"/>
          </p:nvPr>
        </p:nvSpPr>
        <p:spPr>
          <a:xfrm>
            <a:off x="5356225" y="847725"/>
            <a:ext cx="3097927" cy="1301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Lorem ipsum </a:t>
            </a:r>
            <a:r>
              <a:rPr lang="en-GB" dirty="0" err="1"/>
              <a:t>dolor</a:t>
            </a:r>
            <a:r>
              <a:rPr lang="en-GB" dirty="0"/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endParaRPr dirty="0"/>
          </a:p>
        </p:txBody>
      </p:sp>
      <p:sp>
        <p:nvSpPr>
          <p:cNvPr id="26" name="Google Shape;529;p5">
            <a:extLst>
              <a:ext uri="{FF2B5EF4-FFF2-40B4-BE49-F238E27FC236}">
                <a16:creationId xmlns:a16="http://schemas.microsoft.com/office/drawing/2014/main" id="{22B12B59-096D-094B-A402-C413F5704E6B}"/>
              </a:ext>
            </a:extLst>
          </p:cNvPr>
          <p:cNvSpPr txBox="1">
            <a:spLocks noGrp="1"/>
          </p:cNvSpPr>
          <p:nvPr>
            <p:ph type="body" idx="38"/>
          </p:nvPr>
        </p:nvSpPr>
        <p:spPr>
          <a:xfrm>
            <a:off x="5356226" y="368346"/>
            <a:ext cx="3097926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7350F14-4061-CD4F-A4AC-B5A204EBA476}"/>
              </a:ext>
            </a:extLst>
          </p:cNvPr>
          <p:cNvSpPr/>
          <p:nvPr userDrawn="1"/>
        </p:nvSpPr>
        <p:spPr>
          <a:xfrm>
            <a:off x="6734203" y="2295524"/>
            <a:ext cx="2409798" cy="23184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8" name="Google Shape;526;p5">
            <a:extLst>
              <a:ext uri="{FF2B5EF4-FFF2-40B4-BE49-F238E27FC236}">
                <a16:creationId xmlns:a16="http://schemas.microsoft.com/office/drawing/2014/main" id="{0FA9CD8D-30E4-4E49-879D-BF65CAFE584B}"/>
              </a:ext>
            </a:extLst>
          </p:cNvPr>
          <p:cNvSpPr txBox="1">
            <a:spLocks noGrp="1"/>
          </p:cNvSpPr>
          <p:nvPr>
            <p:ph type="body" idx="39" hasCustomPrompt="1"/>
          </p:nvPr>
        </p:nvSpPr>
        <p:spPr>
          <a:xfrm>
            <a:off x="6848475" y="2915731"/>
            <a:ext cx="1603374" cy="1333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29" name="Google Shape;529;p5">
            <a:extLst>
              <a:ext uri="{FF2B5EF4-FFF2-40B4-BE49-F238E27FC236}">
                <a16:creationId xmlns:a16="http://schemas.microsoft.com/office/drawing/2014/main" id="{23A0EFF3-0804-7D49-8932-D4AD7676D85F}"/>
              </a:ext>
            </a:extLst>
          </p:cNvPr>
          <p:cNvSpPr txBox="1">
            <a:spLocks noGrp="1"/>
          </p:cNvSpPr>
          <p:nvPr>
            <p:ph type="body" idx="40"/>
          </p:nvPr>
        </p:nvSpPr>
        <p:spPr>
          <a:xfrm>
            <a:off x="6848475" y="2511470"/>
            <a:ext cx="1603374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4FA182-5B88-A047-BE1B-1B6B4467F726}"/>
              </a:ext>
            </a:extLst>
          </p:cNvPr>
          <p:cNvSpPr/>
          <p:nvPr userDrawn="1"/>
        </p:nvSpPr>
        <p:spPr>
          <a:xfrm>
            <a:off x="4669941" y="2295525"/>
            <a:ext cx="2064261" cy="231848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31" name="Google Shape;526;p5">
            <a:extLst>
              <a:ext uri="{FF2B5EF4-FFF2-40B4-BE49-F238E27FC236}">
                <a16:creationId xmlns:a16="http://schemas.microsoft.com/office/drawing/2014/main" id="{89060480-4FA2-D749-BEA5-D7B90E9F6CAD}"/>
              </a:ext>
            </a:extLst>
          </p:cNvPr>
          <p:cNvSpPr txBox="1">
            <a:spLocks noGrp="1"/>
          </p:cNvSpPr>
          <p:nvPr>
            <p:ph type="body" idx="41" hasCustomPrompt="1"/>
          </p:nvPr>
        </p:nvSpPr>
        <p:spPr>
          <a:xfrm>
            <a:off x="4867275" y="2915732"/>
            <a:ext cx="1705486" cy="1333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32" name="Google Shape;529;p5">
            <a:extLst>
              <a:ext uri="{FF2B5EF4-FFF2-40B4-BE49-F238E27FC236}">
                <a16:creationId xmlns:a16="http://schemas.microsoft.com/office/drawing/2014/main" id="{2D388488-7BF5-4649-A4AD-DD8EF756E9EA}"/>
              </a:ext>
            </a:extLst>
          </p:cNvPr>
          <p:cNvSpPr txBox="1">
            <a:spLocks noGrp="1"/>
          </p:cNvSpPr>
          <p:nvPr>
            <p:ph type="body" idx="42"/>
          </p:nvPr>
        </p:nvSpPr>
        <p:spPr>
          <a:xfrm>
            <a:off x="4867275" y="2511471"/>
            <a:ext cx="1705486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4805233-5FE7-1F41-A64A-07471C8B2244}"/>
              </a:ext>
            </a:extLst>
          </p:cNvPr>
          <p:cNvSpPr/>
          <p:nvPr userDrawn="1"/>
        </p:nvSpPr>
        <p:spPr>
          <a:xfrm>
            <a:off x="2602707" y="2295524"/>
            <a:ext cx="2069520" cy="231848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34" name="Google Shape;526;p5">
            <a:extLst>
              <a:ext uri="{FF2B5EF4-FFF2-40B4-BE49-F238E27FC236}">
                <a16:creationId xmlns:a16="http://schemas.microsoft.com/office/drawing/2014/main" id="{035ACD17-C4D9-B547-BDCD-5F273544E873}"/>
              </a:ext>
            </a:extLst>
          </p:cNvPr>
          <p:cNvSpPr txBox="1">
            <a:spLocks noGrp="1"/>
          </p:cNvSpPr>
          <p:nvPr>
            <p:ph type="body" idx="43" hasCustomPrompt="1"/>
          </p:nvPr>
        </p:nvSpPr>
        <p:spPr>
          <a:xfrm>
            <a:off x="2797175" y="2915732"/>
            <a:ext cx="1711325" cy="13338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dirty="0"/>
          </a:p>
        </p:txBody>
      </p:sp>
      <p:sp>
        <p:nvSpPr>
          <p:cNvPr id="35" name="Google Shape;529;p5">
            <a:extLst>
              <a:ext uri="{FF2B5EF4-FFF2-40B4-BE49-F238E27FC236}">
                <a16:creationId xmlns:a16="http://schemas.microsoft.com/office/drawing/2014/main" id="{68E00520-3C0C-6C4C-B408-86C20E0FA69B}"/>
              </a:ext>
            </a:extLst>
          </p:cNvPr>
          <p:cNvSpPr txBox="1">
            <a:spLocks noGrp="1"/>
          </p:cNvSpPr>
          <p:nvPr>
            <p:ph type="body" idx="44"/>
          </p:nvPr>
        </p:nvSpPr>
        <p:spPr>
          <a:xfrm>
            <a:off x="2797175" y="2511471"/>
            <a:ext cx="1711325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BDA1402D-8EB2-4D49-B575-D0F1727A77A6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0" y="2295522"/>
            <a:ext cx="2602853" cy="2318492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4828531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löcke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4217268-B393-E64C-8484-762335336309}"/>
              </a:ext>
            </a:extLst>
          </p:cNvPr>
          <p:cNvSpPr/>
          <p:nvPr userDrawn="1"/>
        </p:nvSpPr>
        <p:spPr>
          <a:xfrm>
            <a:off x="0" y="0"/>
            <a:ext cx="3802063" cy="22970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E73D86-3A54-A54A-B113-A0A3F306955A}"/>
              </a:ext>
            </a:extLst>
          </p:cNvPr>
          <p:cNvSpPr/>
          <p:nvPr userDrawn="1"/>
        </p:nvSpPr>
        <p:spPr>
          <a:xfrm>
            <a:off x="5845174" y="0"/>
            <a:ext cx="3298825" cy="2297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46476C-FAD9-9948-987C-B7F424D53BED}"/>
              </a:ext>
            </a:extLst>
          </p:cNvPr>
          <p:cNvSpPr/>
          <p:nvPr userDrawn="1"/>
        </p:nvSpPr>
        <p:spPr>
          <a:xfrm>
            <a:off x="4476750" y="2293169"/>
            <a:ext cx="2781299" cy="2315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6FB328A-62A3-9542-BE76-AB758FF76AE6}"/>
              </a:ext>
            </a:extLst>
          </p:cNvPr>
          <p:cNvSpPr/>
          <p:nvPr userDrawn="1"/>
        </p:nvSpPr>
        <p:spPr>
          <a:xfrm>
            <a:off x="1918617" y="2293169"/>
            <a:ext cx="2558133" cy="23157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75ABE7-2360-8A49-BAC7-E124541910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2062" y="0"/>
            <a:ext cx="2056541" cy="22970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B37E47C-ED94-6C4A-810F-A271004703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293168"/>
            <a:ext cx="1918618" cy="23157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4B2DA031-F993-5D41-BC94-7FDA6E136E1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8050" y="2293168"/>
            <a:ext cx="1885950" cy="2315715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10" name="Google Shape;526;p5">
            <a:extLst>
              <a:ext uri="{FF2B5EF4-FFF2-40B4-BE49-F238E27FC236}">
                <a16:creationId xmlns:a16="http://schemas.microsoft.com/office/drawing/2014/main" id="{0835F02A-1303-824F-895B-DB922F66B43D}"/>
              </a:ext>
            </a:extLst>
          </p:cNvPr>
          <p:cNvSpPr txBox="1">
            <a:spLocks noGrp="1"/>
          </p:cNvSpPr>
          <p:nvPr>
            <p:ph type="body" idx="30" hasCustomPrompt="1"/>
          </p:nvPr>
        </p:nvSpPr>
        <p:spPr>
          <a:xfrm>
            <a:off x="2164229" y="2956227"/>
            <a:ext cx="2056541" cy="121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1" name="Google Shape;529;p5">
            <a:extLst>
              <a:ext uri="{FF2B5EF4-FFF2-40B4-BE49-F238E27FC236}">
                <a16:creationId xmlns:a16="http://schemas.microsoft.com/office/drawing/2014/main" id="{919E24A7-5006-E743-8691-04CF6A8D1BEE}"/>
              </a:ext>
            </a:extLst>
          </p:cNvPr>
          <p:cNvSpPr txBox="1">
            <a:spLocks noGrp="1"/>
          </p:cNvSpPr>
          <p:nvPr>
            <p:ph type="body" idx="24"/>
          </p:nvPr>
        </p:nvSpPr>
        <p:spPr>
          <a:xfrm>
            <a:off x="2164229" y="2456978"/>
            <a:ext cx="2056541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2" name="Google Shape;526;p5">
            <a:extLst>
              <a:ext uri="{FF2B5EF4-FFF2-40B4-BE49-F238E27FC236}">
                <a16:creationId xmlns:a16="http://schemas.microsoft.com/office/drawing/2014/main" id="{8582A6D1-3CBF-F744-99B5-997514DD1A15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4703034" y="2956227"/>
            <a:ext cx="2299036" cy="121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3" name="Google Shape;529;p5">
            <a:extLst>
              <a:ext uri="{FF2B5EF4-FFF2-40B4-BE49-F238E27FC236}">
                <a16:creationId xmlns:a16="http://schemas.microsoft.com/office/drawing/2014/main" id="{10362F6D-84FC-F240-A728-0A4CAB2AB376}"/>
              </a:ext>
            </a:extLst>
          </p:cNvPr>
          <p:cNvSpPr txBox="1">
            <a:spLocks noGrp="1"/>
          </p:cNvSpPr>
          <p:nvPr>
            <p:ph type="body" idx="32"/>
          </p:nvPr>
        </p:nvSpPr>
        <p:spPr>
          <a:xfrm>
            <a:off x="4703034" y="2456978"/>
            <a:ext cx="2327669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4" name="Google Shape;526;p5">
            <a:extLst>
              <a:ext uri="{FF2B5EF4-FFF2-40B4-BE49-F238E27FC236}">
                <a16:creationId xmlns:a16="http://schemas.microsoft.com/office/drawing/2014/main" id="{1FBD223E-CB8F-0544-BCA3-063414B6B204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78728" y="858712"/>
            <a:ext cx="2935140" cy="1188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, consectetur adipiscing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5" name="Google Shape;529;p5">
            <a:extLst>
              <a:ext uri="{FF2B5EF4-FFF2-40B4-BE49-F238E27FC236}">
                <a16:creationId xmlns:a16="http://schemas.microsoft.com/office/drawing/2014/main" id="{D20CA6D2-C9F7-8B4C-A632-61C849902E8B}"/>
              </a:ext>
            </a:extLst>
          </p:cNvPr>
          <p:cNvSpPr txBox="1">
            <a:spLocks noGrp="1"/>
          </p:cNvSpPr>
          <p:nvPr>
            <p:ph type="body" idx="34"/>
          </p:nvPr>
        </p:nvSpPr>
        <p:spPr>
          <a:xfrm>
            <a:off x="678728" y="369888"/>
            <a:ext cx="2935140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6" name="Google Shape;526;p5">
            <a:extLst>
              <a:ext uri="{FF2B5EF4-FFF2-40B4-BE49-F238E27FC236}">
                <a16:creationId xmlns:a16="http://schemas.microsoft.com/office/drawing/2014/main" id="{9C046A20-1CE6-5C47-8C25-46F94FAB6D03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5994881" y="858712"/>
            <a:ext cx="2493136" cy="11887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</a:t>
            </a:r>
            <a:r>
              <a:rPr lang="nl-NL" dirty="0"/>
              <a:t>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17" name="Google Shape;529;p5">
            <a:extLst>
              <a:ext uri="{FF2B5EF4-FFF2-40B4-BE49-F238E27FC236}">
                <a16:creationId xmlns:a16="http://schemas.microsoft.com/office/drawing/2014/main" id="{3CE5B583-29AB-7145-95B6-DE2751A1E70A}"/>
              </a:ext>
            </a:extLst>
          </p:cNvPr>
          <p:cNvSpPr txBox="1">
            <a:spLocks noGrp="1"/>
          </p:cNvSpPr>
          <p:nvPr>
            <p:ph type="body" idx="36"/>
          </p:nvPr>
        </p:nvSpPr>
        <p:spPr>
          <a:xfrm>
            <a:off x="5994881" y="369888"/>
            <a:ext cx="2493136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214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blöcke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E29EFB6-EB0A-184F-9917-17D353EB20A7}"/>
              </a:ext>
            </a:extLst>
          </p:cNvPr>
          <p:cNvSpPr/>
          <p:nvPr userDrawn="1"/>
        </p:nvSpPr>
        <p:spPr>
          <a:xfrm>
            <a:off x="0" y="0"/>
            <a:ext cx="3802063" cy="22970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53FD59C-A0AF-AF4D-AF31-78046DB32DF9}"/>
              </a:ext>
            </a:extLst>
          </p:cNvPr>
          <p:cNvSpPr/>
          <p:nvPr userDrawn="1"/>
        </p:nvSpPr>
        <p:spPr>
          <a:xfrm>
            <a:off x="3802061" y="0"/>
            <a:ext cx="2801604" cy="22970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BEBE78-9FA1-BF4C-8BDC-5981617B0682}"/>
              </a:ext>
            </a:extLst>
          </p:cNvPr>
          <p:cNvSpPr/>
          <p:nvPr userDrawn="1"/>
        </p:nvSpPr>
        <p:spPr>
          <a:xfrm>
            <a:off x="4584700" y="2297147"/>
            <a:ext cx="4559300" cy="23172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84506CA6-4DF8-BB4D-8F88-DFF93851A9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77872" y="0"/>
            <a:ext cx="2566128" cy="2297013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96153EE2-2E99-2F4C-B76B-5D526A41D9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297148"/>
            <a:ext cx="4674386" cy="2317382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23" name="Google Shape;526;p5">
            <a:extLst>
              <a:ext uri="{FF2B5EF4-FFF2-40B4-BE49-F238E27FC236}">
                <a16:creationId xmlns:a16="http://schemas.microsoft.com/office/drawing/2014/main" id="{0959AE24-9A86-1148-B437-1E4A94344C48}"/>
              </a:ext>
            </a:extLst>
          </p:cNvPr>
          <p:cNvSpPr txBox="1">
            <a:spLocks noGrp="1"/>
          </p:cNvSpPr>
          <p:nvPr>
            <p:ph type="body" idx="31" hasCustomPrompt="1"/>
          </p:nvPr>
        </p:nvSpPr>
        <p:spPr>
          <a:xfrm>
            <a:off x="4836149" y="2872118"/>
            <a:ext cx="3612112" cy="1334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.</a:t>
            </a:r>
            <a:endParaRPr lang="en-GB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24" name="Google Shape;529;p5">
            <a:extLst>
              <a:ext uri="{FF2B5EF4-FFF2-40B4-BE49-F238E27FC236}">
                <a16:creationId xmlns:a16="http://schemas.microsoft.com/office/drawing/2014/main" id="{789CF8F5-5CCC-294B-A9C6-7E68413924A4}"/>
              </a:ext>
            </a:extLst>
          </p:cNvPr>
          <p:cNvSpPr txBox="1">
            <a:spLocks noGrp="1"/>
          </p:cNvSpPr>
          <p:nvPr>
            <p:ph type="body" idx="32"/>
          </p:nvPr>
        </p:nvSpPr>
        <p:spPr>
          <a:xfrm>
            <a:off x="4836149" y="2441693"/>
            <a:ext cx="3612112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5" name="Google Shape;526;p5">
            <a:extLst>
              <a:ext uri="{FF2B5EF4-FFF2-40B4-BE49-F238E27FC236}">
                <a16:creationId xmlns:a16="http://schemas.microsoft.com/office/drawing/2014/main" id="{AF1591B0-3796-1642-8756-4ED4CEB69854}"/>
              </a:ext>
            </a:extLst>
          </p:cNvPr>
          <p:cNvSpPr txBox="1">
            <a:spLocks noGrp="1"/>
          </p:cNvSpPr>
          <p:nvPr>
            <p:ph type="body" idx="33" hasCustomPrompt="1"/>
          </p:nvPr>
        </p:nvSpPr>
        <p:spPr>
          <a:xfrm>
            <a:off x="674758" y="866055"/>
            <a:ext cx="2903327" cy="1316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, consectetur adipiscing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26" name="Google Shape;529;p5">
            <a:extLst>
              <a:ext uri="{FF2B5EF4-FFF2-40B4-BE49-F238E27FC236}">
                <a16:creationId xmlns:a16="http://schemas.microsoft.com/office/drawing/2014/main" id="{2BB43962-96FA-544F-BCEB-F58F343F8DB4}"/>
              </a:ext>
            </a:extLst>
          </p:cNvPr>
          <p:cNvSpPr txBox="1">
            <a:spLocks noGrp="1"/>
          </p:cNvSpPr>
          <p:nvPr>
            <p:ph type="body" idx="34"/>
          </p:nvPr>
        </p:nvSpPr>
        <p:spPr>
          <a:xfrm>
            <a:off x="674758" y="372014"/>
            <a:ext cx="2903327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27" name="Google Shape;526;p5">
            <a:extLst>
              <a:ext uri="{FF2B5EF4-FFF2-40B4-BE49-F238E27FC236}">
                <a16:creationId xmlns:a16="http://schemas.microsoft.com/office/drawing/2014/main" id="{9F5F84BA-E9A4-8C46-A614-DC87604BFD9A}"/>
              </a:ext>
            </a:extLst>
          </p:cNvPr>
          <p:cNvSpPr txBox="1">
            <a:spLocks noGrp="1"/>
          </p:cNvSpPr>
          <p:nvPr>
            <p:ph type="body" idx="35" hasCustomPrompt="1"/>
          </p:nvPr>
        </p:nvSpPr>
        <p:spPr>
          <a:xfrm>
            <a:off x="3999478" y="866055"/>
            <a:ext cx="2357590" cy="1316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 panose="020B0604020202020204" pitchFamily="34" charset="0"/>
              <a:buNone/>
              <a:tabLst>
                <a:tab pos="1865313" algn="l"/>
              </a:tabLst>
              <a:defRPr/>
            </a:pPr>
            <a:r>
              <a:rPr lang="x-none" dirty="0"/>
              <a:t>Lorem ipsum dolor sit amet, consectetur adipiscing elit, sed do eiusmod tempor.</a:t>
            </a:r>
            <a:r>
              <a:rPr lang="en-GB" dirty="0"/>
              <a:t> 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. </a:t>
            </a:r>
            <a:r>
              <a:rPr lang="x-none" dirty="0"/>
              <a:t>Lorem ipsum dolor sit amet</a:t>
            </a:r>
            <a:r>
              <a:rPr lang="nl-NL" dirty="0"/>
              <a:t>.</a:t>
            </a:r>
            <a:endParaRPr lang="en-GB" dirty="0"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endParaRPr dirty="0"/>
          </a:p>
        </p:txBody>
      </p:sp>
      <p:sp>
        <p:nvSpPr>
          <p:cNvPr id="28" name="Google Shape;529;p5">
            <a:extLst>
              <a:ext uri="{FF2B5EF4-FFF2-40B4-BE49-F238E27FC236}">
                <a16:creationId xmlns:a16="http://schemas.microsoft.com/office/drawing/2014/main" id="{02B9A193-24C9-9C42-89B3-5BF725C2FDED}"/>
              </a:ext>
            </a:extLst>
          </p:cNvPr>
          <p:cNvSpPr txBox="1">
            <a:spLocks noGrp="1"/>
          </p:cNvSpPr>
          <p:nvPr>
            <p:ph type="body" idx="36"/>
          </p:nvPr>
        </p:nvSpPr>
        <p:spPr>
          <a:xfrm>
            <a:off x="3999478" y="372014"/>
            <a:ext cx="2357590" cy="4016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FFD100"/>
              </a:buClr>
              <a:buSzPts val="240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6339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+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6ED11D-9CA9-4A48-947F-1221667956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5143500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05B029C-BFED-654C-9DB4-F7633A280C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7345" y="1706114"/>
            <a:ext cx="3457575" cy="611943"/>
          </a:xfrm>
        </p:spPr>
        <p:txBody>
          <a:bodyPr anchor="b" anchorCtr="0">
            <a:norm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30C55FB-980B-B04D-BE94-81EA76B902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87345" y="2322973"/>
            <a:ext cx="3457575" cy="643493"/>
          </a:xfrm>
        </p:spPr>
        <p:txBody>
          <a:bodyPr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DB04FE6-39EF-5C42-BAB6-F88FC6F301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356225" y="3262978"/>
            <a:ext cx="3267074" cy="6985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  <a:p>
            <a:pPr lvl="0"/>
            <a:endParaRPr lang="x-none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49" hasCustomPrompt="1"/>
          </p:nvPr>
        </p:nvSpPr>
        <p:spPr>
          <a:xfrm>
            <a:off x="5085954" y="3272149"/>
            <a:ext cx="194430" cy="194430"/>
          </a:xfrm>
          <a:prstGeom prst="ellipse">
            <a:avLst/>
          </a:prstGeom>
          <a:solidFill>
            <a:schemeClr val="accent1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  <p:pic>
        <p:nvPicPr>
          <p:cNvPr id="10" name="Afbeelding 25">
            <a:extLst>
              <a:ext uri="{FF2B5EF4-FFF2-40B4-BE49-F238E27FC236}">
                <a16:creationId xmlns:a16="http://schemas.microsoft.com/office/drawing/2014/main" id="{48340EB1-3D0B-EA4A-BB7B-281A829079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5833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Bild im Hintergrund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solidFill>
            <a:schemeClr val="bg1">
              <a:lumMod val="85000"/>
            </a:schemeClr>
          </a:solidFill>
        </p:spPr>
        <p:txBody>
          <a:bodyPr lIns="144000" tIns="108000"/>
          <a:lstStyle/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03B2CD44-5C42-7A4B-BCDD-4D431CAF41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497438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+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96ED11D-9CA9-4A48-947F-12216679566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627E8E-5D45-804E-8837-8F0DD61690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456" y="1820041"/>
            <a:ext cx="3544663" cy="498016"/>
          </a:xfrm>
        </p:spPr>
        <p:txBody>
          <a:bodyPr anchor="b" anchorCtr="0">
            <a:norm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9956689-84E8-9F48-8FB0-24FF423DE8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9456" y="2322973"/>
            <a:ext cx="3544663" cy="643493"/>
          </a:xfrm>
        </p:spPr>
        <p:txBody>
          <a:bodyPr>
            <a:noAutofit/>
          </a:bodyPr>
          <a:lstStyle>
            <a:lvl1pPr marL="0" indent="0" algn="l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768F384A-1FA3-7249-B61A-050D739F92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1994" y="3262978"/>
            <a:ext cx="3223416" cy="6985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  <a:p>
            <a:pPr lvl="0"/>
            <a:endParaRPr lang="x-none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49" hasCustomPrompt="1"/>
          </p:nvPr>
        </p:nvSpPr>
        <p:spPr>
          <a:xfrm>
            <a:off x="535903" y="3272149"/>
            <a:ext cx="194430" cy="194430"/>
          </a:xfrm>
          <a:prstGeom prst="ellipse">
            <a:avLst/>
          </a:prstGeom>
          <a:solidFill>
            <a:schemeClr val="accent3"/>
          </a:solidFill>
        </p:spPr>
        <p:txBody>
          <a:bodyPr/>
          <a:lstStyle>
            <a:lvl1pPr>
              <a:defRPr sz="12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200"/>
            </a:lvl5pPr>
          </a:lstStyle>
          <a:p>
            <a:pPr lvl="0"/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09438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Pfeil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68FA262-6DF3-B34D-B39D-9F9B2F7AA3D9}"/>
              </a:ext>
            </a:extLst>
          </p:cNvPr>
          <p:cNvSpPr/>
          <p:nvPr userDrawn="1"/>
        </p:nvSpPr>
        <p:spPr>
          <a:xfrm>
            <a:off x="0" y="0"/>
            <a:ext cx="255319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5BDBC76-47EB-9943-BB82-1B46BB35EBC7}"/>
              </a:ext>
            </a:extLst>
          </p:cNvPr>
          <p:cNvSpPr/>
          <p:nvPr userDrawn="1"/>
        </p:nvSpPr>
        <p:spPr>
          <a:xfrm rot="5400000">
            <a:off x="528607" y="388625"/>
            <a:ext cx="197410" cy="1974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1EC283B-FDDA-5345-B948-03D24A76CC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054" y="711286"/>
            <a:ext cx="2024385" cy="135502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2DE4887-E3A6-2544-903C-F690C384B4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5054" y="2281995"/>
            <a:ext cx="2024385" cy="1275667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reeform 5"/>
          <p:cNvSpPr>
            <a:spLocks/>
          </p:cNvSpPr>
          <p:nvPr userDrawn="1"/>
        </p:nvSpPr>
        <p:spPr bwMode="auto">
          <a:xfrm>
            <a:off x="241300" y="304129"/>
            <a:ext cx="180975" cy="363538"/>
          </a:xfrm>
          <a:custGeom>
            <a:avLst/>
            <a:gdLst>
              <a:gd name="T0" fmla="*/ 0 w 189"/>
              <a:gd name="T1" fmla="*/ 0 h 377"/>
              <a:gd name="T2" fmla="*/ 0 w 189"/>
              <a:gd name="T3" fmla="*/ 0 h 377"/>
              <a:gd name="T4" fmla="*/ 189 w 189"/>
              <a:gd name="T5" fmla="*/ 188 h 377"/>
              <a:gd name="T6" fmla="*/ 0 w 189"/>
              <a:gd name="T7" fmla="*/ 377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9" h="377">
                <a:moveTo>
                  <a:pt x="0" y="0"/>
                </a:moveTo>
                <a:lnTo>
                  <a:pt x="0" y="0"/>
                </a:lnTo>
                <a:lnTo>
                  <a:pt x="189" y="188"/>
                </a:lnTo>
                <a:lnTo>
                  <a:pt x="0" y="377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Freeform 6"/>
          <p:cNvSpPr>
            <a:spLocks/>
          </p:cNvSpPr>
          <p:nvPr userDrawn="1"/>
        </p:nvSpPr>
        <p:spPr bwMode="auto">
          <a:xfrm>
            <a:off x="3175" y="489866"/>
            <a:ext cx="395288" cy="0"/>
          </a:xfrm>
          <a:custGeom>
            <a:avLst/>
            <a:gdLst>
              <a:gd name="T0" fmla="*/ 0 w 1654"/>
              <a:gd name="T1" fmla="*/ 0 w 1654"/>
              <a:gd name="T2" fmla="*/ 1654 w 165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654">
                <a:moveTo>
                  <a:pt x="0" y="0"/>
                </a:moveTo>
                <a:lnTo>
                  <a:pt x="0" y="0"/>
                </a:lnTo>
                <a:lnTo>
                  <a:pt x="1654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2" name="Google Shape;602;p10">
            <a:extLst>
              <a:ext uri="{FF2B5EF4-FFF2-40B4-BE49-F238E27FC236}">
                <a16:creationId xmlns:a16="http://schemas.microsoft.com/office/drawing/2014/main" id="{4E680536-0C14-45F6-9163-FB91E232A205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949611" y="711286"/>
            <a:ext cx="5718460" cy="239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800"/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</p:txBody>
      </p:sp>
      <p:pic>
        <p:nvPicPr>
          <p:cNvPr id="11" name="Afbeelding 25">
            <a:extLst>
              <a:ext uri="{FF2B5EF4-FFF2-40B4-BE49-F238E27FC236}">
                <a16:creationId xmlns:a16="http://schemas.microsoft.com/office/drawing/2014/main" id="{E2C5F1ED-D043-0C48-AE8E-C4DF6A6020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7128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68FA262-6DF3-B34D-B39D-9F9B2F7AA3D9}"/>
              </a:ext>
            </a:extLst>
          </p:cNvPr>
          <p:cNvSpPr/>
          <p:nvPr userDrawn="1"/>
        </p:nvSpPr>
        <p:spPr>
          <a:xfrm>
            <a:off x="0" y="0"/>
            <a:ext cx="255319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1EC283B-FDDA-5345-B948-03D24A76CC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5054" y="711286"/>
            <a:ext cx="2024385" cy="1355020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2DE4887-E3A6-2544-903C-F690C384B4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15054" y="2281995"/>
            <a:ext cx="2024385" cy="1275667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Google Shape;602;p10">
            <a:extLst>
              <a:ext uri="{FF2B5EF4-FFF2-40B4-BE49-F238E27FC236}">
                <a16:creationId xmlns:a16="http://schemas.microsoft.com/office/drawing/2014/main" id="{22B2CF79-F9D5-934E-8780-6B274C212FFC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2949611" y="711286"/>
            <a:ext cx="5718460" cy="239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800"/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</p:txBody>
      </p:sp>
      <p:pic>
        <p:nvPicPr>
          <p:cNvPr id="8" name="Afbeelding 25">
            <a:extLst>
              <a:ext uri="{FF2B5EF4-FFF2-40B4-BE49-F238E27FC236}">
                <a16:creationId xmlns:a16="http://schemas.microsoft.com/office/drawing/2014/main" id="{21E39E9E-0DEC-A74B-874C-79CD655DA3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9644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Text unterleg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68FA262-6DF3-B34D-B39D-9F9B2F7AA3D9}"/>
              </a:ext>
            </a:extLst>
          </p:cNvPr>
          <p:cNvSpPr/>
          <p:nvPr userDrawn="1"/>
        </p:nvSpPr>
        <p:spPr>
          <a:xfrm>
            <a:off x="6590804" y="0"/>
            <a:ext cx="2553196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2476E13-55DE-C94B-8E41-FCC97D89B80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70410" y="815163"/>
            <a:ext cx="5653036" cy="320400"/>
          </a:xfrm>
        </p:spPr>
        <p:txBody>
          <a:bodyPr lIns="46800" anchor="t"/>
          <a:lstStyle>
            <a:lvl1pPr algn="l">
              <a:defRPr sz="1000">
                <a:solidFill>
                  <a:schemeClr val="tx2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el 4">
            <a:extLst>
              <a:ext uri="{FF2B5EF4-FFF2-40B4-BE49-F238E27FC236}">
                <a16:creationId xmlns:a16="http://schemas.microsoft.com/office/drawing/2014/main" id="{B087534A-597B-A544-ABEF-9D1A2CB6A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410" y="165671"/>
            <a:ext cx="5653036" cy="5400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6" name="Google Shape;602;p10">
            <a:extLst>
              <a:ext uri="{FF2B5EF4-FFF2-40B4-BE49-F238E27FC236}">
                <a16:creationId xmlns:a16="http://schemas.microsoft.com/office/drawing/2014/main" id="{366CD210-A30D-45AC-8585-F2396EB7A855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6820342" y="711286"/>
            <a:ext cx="2096777" cy="239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  <a:defRPr sz="800">
                <a:solidFill>
                  <a:schemeClr val="bg1"/>
                </a:solidFill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None/>
            </a:pPr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, </a:t>
            </a:r>
            <a:r>
              <a:rPr lang="en-GB" dirty="0" err="1"/>
              <a:t>sed</a:t>
            </a:r>
            <a:r>
              <a:rPr lang="en-GB" dirty="0"/>
              <a:t> do </a:t>
            </a:r>
            <a:r>
              <a:rPr lang="en-GB" dirty="0" err="1"/>
              <a:t>eiusmod</a:t>
            </a:r>
            <a:r>
              <a:rPr lang="en-GB" dirty="0"/>
              <a:t> </a:t>
            </a:r>
            <a:r>
              <a:rPr lang="en-GB" dirty="0" err="1"/>
              <a:t>tempor</a:t>
            </a:r>
            <a:r>
              <a:rPr lang="en-GB" dirty="0"/>
              <a:t>.</a:t>
            </a:r>
          </a:p>
        </p:txBody>
      </p:sp>
      <p:pic>
        <p:nvPicPr>
          <p:cNvPr id="8" name="Afbeelding 3">
            <a:extLst>
              <a:ext uri="{FF2B5EF4-FFF2-40B4-BE49-F238E27FC236}">
                <a16:creationId xmlns:a16="http://schemas.microsoft.com/office/drawing/2014/main" id="{3BD549FD-1078-0B42-8E25-62F313E1AB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2388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 Folie hell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60924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| Titel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4573588" y="0"/>
            <a:ext cx="4570412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237034" y="1257961"/>
            <a:ext cx="3243520" cy="1336673"/>
          </a:xfrm>
        </p:spPr>
        <p:txBody>
          <a:bodyPr lIns="36000" tIns="0"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5985" y="1263246"/>
            <a:ext cx="3283821" cy="1331388"/>
          </a:xfrm>
        </p:spPr>
        <p:txBody>
          <a:bodyPr anchor="b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728" y="3013696"/>
            <a:ext cx="1489942" cy="5661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76951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| Titel + Text + Pfei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4573588" y="0"/>
            <a:ext cx="4570412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237034" y="1257961"/>
            <a:ext cx="3243520" cy="1336673"/>
          </a:xfrm>
        </p:spPr>
        <p:txBody>
          <a:bodyPr lIns="36000" tIns="0" anchor="b"/>
          <a:lstStyle>
            <a:lvl1pPr marL="0" indent="0" algn="ctr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5985" y="1263246"/>
            <a:ext cx="3283821" cy="1331388"/>
          </a:xfrm>
        </p:spPr>
        <p:txBody>
          <a:bodyPr anchor="b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Oval 2">
            <a:extLst>
              <a:ext uri="{FF2B5EF4-FFF2-40B4-BE49-F238E27FC236}">
                <a16:creationId xmlns:a16="http://schemas.microsoft.com/office/drawing/2014/main" id="{0F094E69-A9A4-E245-B767-1BA85D09C514}"/>
              </a:ext>
            </a:extLst>
          </p:cNvPr>
          <p:cNvSpPr/>
          <p:nvPr userDrawn="1"/>
        </p:nvSpPr>
        <p:spPr>
          <a:xfrm>
            <a:off x="2100319" y="2926786"/>
            <a:ext cx="212386" cy="21238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Oval 13">
            <a:extLst>
              <a:ext uri="{FF2B5EF4-FFF2-40B4-BE49-F238E27FC236}">
                <a16:creationId xmlns:a16="http://schemas.microsoft.com/office/drawing/2014/main" id="{6774D145-A843-7D47-ACA5-BA7F5FFB8D7B}"/>
              </a:ext>
            </a:extLst>
          </p:cNvPr>
          <p:cNvSpPr/>
          <p:nvPr userDrawn="1"/>
        </p:nvSpPr>
        <p:spPr>
          <a:xfrm>
            <a:off x="6709741" y="2931283"/>
            <a:ext cx="212386" cy="212386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 bwMode="auto">
          <a:xfrm>
            <a:off x="2174901" y="3228975"/>
            <a:ext cx="4802187" cy="755650"/>
            <a:chOff x="1385" y="2034"/>
            <a:chExt cx="3025" cy="476"/>
          </a:xfrm>
        </p:grpSpPr>
        <p:sp>
          <p:nvSpPr>
            <p:cNvPr id="6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385" y="2034"/>
              <a:ext cx="3025" cy="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4220" y="2056"/>
              <a:ext cx="182" cy="93"/>
            </a:xfrm>
            <a:custGeom>
              <a:avLst/>
              <a:gdLst>
                <a:gd name="T0" fmla="*/ 0 w 377"/>
                <a:gd name="T1" fmla="*/ 189 h 189"/>
                <a:gd name="T2" fmla="*/ 0 w 377"/>
                <a:gd name="T3" fmla="*/ 189 h 189"/>
                <a:gd name="T4" fmla="*/ 188 w 377"/>
                <a:gd name="T5" fmla="*/ 0 h 189"/>
                <a:gd name="T6" fmla="*/ 377 w 377"/>
                <a:gd name="T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7" h="189">
                  <a:moveTo>
                    <a:pt x="0" y="189"/>
                  </a:moveTo>
                  <a:lnTo>
                    <a:pt x="0" y="189"/>
                  </a:lnTo>
                  <a:lnTo>
                    <a:pt x="188" y="0"/>
                  </a:lnTo>
                  <a:lnTo>
                    <a:pt x="377" y="189"/>
                  </a:lnTo>
                </a:path>
              </a:pathLst>
            </a:custGeom>
            <a:noFill/>
            <a:ln w="571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1403" y="2039"/>
              <a:ext cx="2909" cy="457"/>
            </a:xfrm>
            <a:custGeom>
              <a:avLst/>
              <a:gdLst>
                <a:gd name="T0" fmla="*/ 0 w 6027"/>
                <a:gd name="T1" fmla="*/ 0 h 930"/>
                <a:gd name="T2" fmla="*/ 0 w 6027"/>
                <a:gd name="T3" fmla="*/ 0 h 930"/>
                <a:gd name="T4" fmla="*/ 2 w 6027"/>
                <a:gd name="T5" fmla="*/ 535 h 930"/>
                <a:gd name="T6" fmla="*/ 396 w 6027"/>
                <a:gd name="T7" fmla="*/ 930 h 930"/>
                <a:gd name="T8" fmla="*/ 5633 w 6027"/>
                <a:gd name="T9" fmla="*/ 930 h 930"/>
                <a:gd name="T10" fmla="*/ 6027 w 6027"/>
                <a:gd name="T11" fmla="*/ 535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27" h="930">
                  <a:moveTo>
                    <a:pt x="0" y="0"/>
                  </a:moveTo>
                  <a:lnTo>
                    <a:pt x="0" y="0"/>
                  </a:lnTo>
                  <a:lnTo>
                    <a:pt x="2" y="535"/>
                  </a:lnTo>
                  <a:cubicBezTo>
                    <a:pt x="2" y="753"/>
                    <a:pt x="178" y="930"/>
                    <a:pt x="396" y="930"/>
                  </a:cubicBezTo>
                  <a:lnTo>
                    <a:pt x="5633" y="930"/>
                  </a:lnTo>
                  <a:cubicBezTo>
                    <a:pt x="5851" y="930"/>
                    <a:pt x="6027" y="753"/>
                    <a:pt x="6027" y="535"/>
                  </a:cubicBezTo>
                </a:path>
              </a:pathLst>
            </a:custGeom>
            <a:noFill/>
            <a:ln w="571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4312" y="2068"/>
              <a:ext cx="0" cy="234"/>
            </a:xfrm>
            <a:custGeom>
              <a:avLst/>
              <a:gdLst>
                <a:gd name="T0" fmla="*/ 477 h 477"/>
                <a:gd name="T1" fmla="*/ 477 h 477"/>
                <a:gd name="T2" fmla="*/ 0 h 47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77">
                  <a:moveTo>
                    <a:pt x="0" y="477"/>
                  </a:moveTo>
                  <a:lnTo>
                    <a:pt x="0" y="477"/>
                  </a:lnTo>
                  <a:lnTo>
                    <a:pt x="0" y="0"/>
                  </a:lnTo>
                </a:path>
              </a:pathLst>
            </a:custGeom>
            <a:noFill/>
            <a:ln w="57150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8280498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| Titel +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728" y="3013696"/>
            <a:ext cx="1489942" cy="56617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hthoek 2"/>
          <p:cNvSpPr/>
          <p:nvPr userDrawn="1"/>
        </p:nvSpPr>
        <p:spPr>
          <a:xfrm>
            <a:off x="4573588" y="0"/>
            <a:ext cx="4570412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5985" y="1263246"/>
            <a:ext cx="3283821" cy="1331388"/>
          </a:xfrm>
        </p:spPr>
        <p:txBody>
          <a:bodyPr anchor="b" anchorCtr="0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Tijdelijke aanduiding voor afbeelding 3"/>
          <p:cNvSpPr>
            <a:spLocks noGrp="1" noChangeAspect="1"/>
          </p:cNvSpPr>
          <p:nvPr>
            <p:ph type="pic" sz="quarter" idx="13"/>
          </p:nvPr>
        </p:nvSpPr>
        <p:spPr>
          <a:xfrm>
            <a:off x="4573588" y="0"/>
            <a:ext cx="4570412" cy="5143500"/>
          </a:xfrm>
          <a:solidFill>
            <a:schemeClr val="bg1">
              <a:lumMod val="85000"/>
            </a:schemeClr>
          </a:solidFill>
        </p:spPr>
        <p:txBody>
          <a:bodyPr lIns="144000" tIns="108000"/>
          <a:lstStyle/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8494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INTERN | Pfeil r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9"/>
          <p:cNvSpPr>
            <a:spLocks/>
          </p:cNvSpPr>
          <p:nvPr/>
        </p:nvSpPr>
        <p:spPr bwMode="auto">
          <a:xfrm>
            <a:off x="5489826" y="2853951"/>
            <a:ext cx="263525" cy="271463"/>
          </a:xfrm>
          <a:custGeom>
            <a:avLst/>
            <a:gdLst>
              <a:gd name="T0" fmla="*/ 352 w 352"/>
              <a:gd name="T1" fmla="*/ 176 h 352"/>
              <a:gd name="T2" fmla="*/ 352 w 352"/>
              <a:gd name="T3" fmla="*/ 176 h 352"/>
              <a:gd name="T4" fmla="*/ 176 w 352"/>
              <a:gd name="T5" fmla="*/ 352 h 352"/>
              <a:gd name="T6" fmla="*/ 0 w 352"/>
              <a:gd name="T7" fmla="*/ 176 h 352"/>
              <a:gd name="T8" fmla="*/ 176 w 352"/>
              <a:gd name="T9" fmla="*/ 0 h 352"/>
              <a:gd name="T10" fmla="*/ 352 w 352"/>
              <a:gd name="T11" fmla="*/ 17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2">
                <a:moveTo>
                  <a:pt x="352" y="176"/>
                </a:moveTo>
                <a:lnTo>
                  <a:pt x="352" y="176"/>
                </a:lnTo>
                <a:cubicBezTo>
                  <a:pt x="352" y="273"/>
                  <a:pt x="274" y="352"/>
                  <a:pt x="176" y="352"/>
                </a:cubicBezTo>
                <a:cubicBezTo>
                  <a:pt x="79" y="352"/>
                  <a:pt x="0" y="273"/>
                  <a:pt x="0" y="176"/>
                </a:cubicBezTo>
                <a:cubicBezTo>
                  <a:pt x="0" y="79"/>
                  <a:pt x="79" y="0"/>
                  <a:pt x="176" y="0"/>
                </a:cubicBezTo>
                <a:cubicBezTo>
                  <a:pt x="274" y="0"/>
                  <a:pt x="352" y="79"/>
                  <a:pt x="352" y="176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Freeform 72"/>
          <p:cNvSpPr>
            <a:spLocks/>
          </p:cNvSpPr>
          <p:nvPr/>
        </p:nvSpPr>
        <p:spPr bwMode="auto">
          <a:xfrm>
            <a:off x="3137328" y="2855539"/>
            <a:ext cx="270000" cy="269875"/>
          </a:xfrm>
          <a:custGeom>
            <a:avLst/>
            <a:gdLst>
              <a:gd name="T0" fmla="*/ 352 w 352"/>
              <a:gd name="T1" fmla="*/ 176 h 352"/>
              <a:gd name="T2" fmla="*/ 352 w 352"/>
              <a:gd name="T3" fmla="*/ 176 h 352"/>
              <a:gd name="T4" fmla="*/ 176 w 352"/>
              <a:gd name="T5" fmla="*/ 352 h 352"/>
              <a:gd name="T6" fmla="*/ 0 w 352"/>
              <a:gd name="T7" fmla="*/ 176 h 352"/>
              <a:gd name="T8" fmla="*/ 176 w 352"/>
              <a:gd name="T9" fmla="*/ 0 h 352"/>
              <a:gd name="T10" fmla="*/ 352 w 352"/>
              <a:gd name="T11" fmla="*/ 17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2">
                <a:moveTo>
                  <a:pt x="352" y="176"/>
                </a:moveTo>
                <a:lnTo>
                  <a:pt x="352" y="176"/>
                </a:lnTo>
                <a:cubicBezTo>
                  <a:pt x="352" y="273"/>
                  <a:pt x="273" y="352"/>
                  <a:pt x="176" y="352"/>
                </a:cubicBezTo>
                <a:cubicBezTo>
                  <a:pt x="78" y="352"/>
                  <a:pt x="0" y="273"/>
                  <a:pt x="0" y="176"/>
                </a:cubicBezTo>
                <a:cubicBezTo>
                  <a:pt x="0" y="79"/>
                  <a:pt x="78" y="0"/>
                  <a:pt x="176" y="0"/>
                </a:cubicBezTo>
                <a:cubicBezTo>
                  <a:pt x="273" y="0"/>
                  <a:pt x="352" y="79"/>
                  <a:pt x="352" y="176"/>
                </a:cubicBez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grpSp>
        <p:nvGrpSpPr>
          <p:cNvPr id="10" name="Groep 9"/>
          <p:cNvGrpSpPr/>
          <p:nvPr userDrawn="1"/>
        </p:nvGrpSpPr>
        <p:grpSpPr>
          <a:xfrm>
            <a:off x="3264010" y="3316245"/>
            <a:ext cx="2532016" cy="1180752"/>
            <a:chOff x="3264010" y="3340100"/>
            <a:chExt cx="2532016" cy="1180752"/>
          </a:xfrm>
        </p:grpSpPr>
        <p:sp>
          <p:nvSpPr>
            <p:cNvPr id="7" name="Freeform 70"/>
            <p:cNvSpPr>
              <a:spLocks/>
            </p:cNvSpPr>
            <p:nvPr/>
          </p:nvSpPr>
          <p:spPr bwMode="auto">
            <a:xfrm rot="16200000">
              <a:off x="5533295" y="3248818"/>
              <a:ext cx="171450" cy="354013"/>
            </a:xfrm>
            <a:custGeom>
              <a:avLst/>
              <a:gdLst>
                <a:gd name="T0" fmla="*/ 0 w 229"/>
                <a:gd name="T1" fmla="*/ 0 h 460"/>
                <a:gd name="T2" fmla="*/ 0 w 229"/>
                <a:gd name="T3" fmla="*/ 0 h 460"/>
                <a:gd name="T4" fmla="*/ 229 w 229"/>
                <a:gd name="T5" fmla="*/ 230 h 460"/>
                <a:gd name="T6" fmla="*/ 0 w 229"/>
                <a:gd name="T7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9" h="460">
                  <a:moveTo>
                    <a:pt x="0" y="0"/>
                  </a:moveTo>
                  <a:lnTo>
                    <a:pt x="0" y="0"/>
                  </a:lnTo>
                  <a:lnTo>
                    <a:pt x="229" y="230"/>
                  </a:lnTo>
                  <a:lnTo>
                    <a:pt x="0" y="460"/>
                  </a:lnTo>
                </a:path>
              </a:pathLst>
            </a:custGeom>
            <a:noFill/>
            <a:ln w="777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3" name="Ovaal 2"/>
            <p:cNvSpPr/>
            <p:nvPr userDrawn="1"/>
          </p:nvSpPr>
          <p:spPr>
            <a:xfrm>
              <a:off x="3264010" y="3340100"/>
              <a:ext cx="2361504" cy="1180752"/>
            </a:xfrm>
            <a:custGeom>
              <a:avLst/>
              <a:gdLst>
                <a:gd name="connsiteX0" fmla="*/ 0 w 2719347"/>
                <a:gd name="connsiteY0" fmla="*/ 1359674 h 2719347"/>
                <a:gd name="connsiteX1" fmla="*/ 1359674 w 2719347"/>
                <a:gd name="connsiteY1" fmla="*/ 0 h 2719347"/>
                <a:gd name="connsiteX2" fmla="*/ 2719348 w 2719347"/>
                <a:gd name="connsiteY2" fmla="*/ 1359674 h 2719347"/>
                <a:gd name="connsiteX3" fmla="*/ 1359674 w 2719347"/>
                <a:gd name="connsiteY3" fmla="*/ 2719348 h 2719347"/>
                <a:gd name="connsiteX4" fmla="*/ 0 w 2719347"/>
                <a:gd name="connsiteY4" fmla="*/ 1359674 h 2719347"/>
                <a:gd name="connsiteX0" fmla="*/ 50058 w 2769406"/>
                <a:gd name="connsiteY0" fmla="*/ 1395878 h 2755552"/>
                <a:gd name="connsiteX1" fmla="*/ 399916 w 2769406"/>
                <a:gd name="connsiteY1" fmla="*/ 477495 h 2755552"/>
                <a:gd name="connsiteX2" fmla="*/ 1409732 w 2769406"/>
                <a:gd name="connsiteY2" fmla="*/ 36204 h 2755552"/>
                <a:gd name="connsiteX3" fmla="*/ 2769406 w 2769406"/>
                <a:gd name="connsiteY3" fmla="*/ 1395878 h 2755552"/>
                <a:gd name="connsiteX4" fmla="*/ 1409732 w 2769406"/>
                <a:gd name="connsiteY4" fmla="*/ 2755552 h 2755552"/>
                <a:gd name="connsiteX5" fmla="*/ 50058 w 2769406"/>
                <a:gd name="connsiteY5" fmla="*/ 1395878 h 2755552"/>
                <a:gd name="connsiteX0" fmla="*/ 399131 w 2768621"/>
                <a:gd name="connsiteY0" fmla="*/ 477495 h 2755552"/>
                <a:gd name="connsiteX1" fmla="*/ 1408947 w 2768621"/>
                <a:gd name="connsiteY1" fmla="*/ 36204 h 2755552"/>
                <a:gd name="connsiteX2" fmla="*/ 2768621 w 2768621"/>
                <a:gd name="connsiteY2" fmla="*/ 1395878 h 2755552"/>
                <a:gd name="connsiteX3" fmla="*/ 1408947 w 2768621"/>
                <a:gd name="connsiteY3" fmla="*/ 2755552 h 2755552"/>
                <a:gd name="connsiteX4" fmla="*/ 49273 w 2768621"/>
                <a:gd name="connsiteY4" fmla="*/ 1395878 h 2755552"/>
                <a:gd name="connsiteX5" fmla="*/ 490571 w 2768621"/>
                <a:gd name="connsiteY5" fmla="*/ 568935 h 2755552"/>
                <a:gd name="connsiteX0" fmla="*/ 349858 w 2719348"/>
                <a:gd name="connsiteY0" fmla="*/ 477495 h 2755552"/>
                <a:gd name="connsiteX1" fmla="*/ 1359674 w 2719348"/>
                <a:gd name="connsiteY1" fmla="*/ 36204 h 2755552"/>
                <a:gd name="connsiteX2" fmla="*/ 2719348 w 2719348"/>
                <a:gd name="connsiteY2" fmla="*/ 1395878 h 2755552"/>
                <a:gd name="connsiteX3" fmla="*/ 1359674 w 2719348"/>
                <a:gd name="connsiteY3" fmla="*/ 2755552 h 2755552"/>
                <a:gd name="connsiteX4" fmla="*/ 0 w 2719348"/>
                <a:gd name="connsiteY4" fmla="*/ 1395878 h 2755552"/>
                <a:gd name="connsiteX0" fmla="*/ 1359674 w 2719348"/>
                <a:gd name="connsiteY0" fmla="*/ 0 h 2719348"/>
                <a:gd name="connsiteX1" fmla="*/ 2719348 w 2719348"/>
                <a:gd name="connsiteY1" fmla="*/ 1359674 h 2719348"/>
                <a:gd name="connsiteX2" fmla="*/ 1359674 w 2719348"/>
                <a:gd name="connsiteY2" fmla="*/ 2719348 h 2719348"/>
                <a:gd name="connsiteX3" fmla="*/ 0 w 2719348"/>
                <a:gd name="connsiteY3" fmla="*/ 1359674 h 2719348"/>
                <a:gd name="connsiteX0" fmla="*/ 2719348 w 2719348"/>
                <a:gd name="connsiteY0" fmla="*/ 0 h 1359674"/>
                <a:gd name="connsiteX1" fmla="*/ 1359674 w 2719348"/>
                <a:gd name="connsiteY1" fmla="*/ 1359674 h 1359674"/>
                <a:gd name="connsiteX2" fmla="*/ 0 w 2719348"/>
                <a:gd name="connsiteY2" fmla="*/ 0 h 1359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19348" h="1359674">
                  <a:moveTo>
                    <a:pt x="2719348" y="0"/>
                  </a:moveTo>
                  <a:cubicBezTo>
                    <a:pt x="2719348" y="750927"/>
                    <a:pt x="2110601" y="1359674"/>
                    <a:pt x="1359674" y="1359674"/>
                  </a:cubicBezTo>
                  <a:cubicBezTo>
                    <a:pt x="608747" y="1359674"/>
                    <a:pt x="0" y="750927"/>
                    <a:pt x="0" y="0"/>
                  </a:cubicBezTo>
                </a:path>
              </a:pathLst>
            </a:custGeom>
            <a:noFill/>
            <a:ln w="7778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nl-NL" dirty="0" err="1"/>
            </a:p>
          </p:txBody>
        </p:sp>
      </p:grpSp>
      <p:sp>
        <p:nvSpPr>
          <p:cNvPr id="12" name="Titel 1">
            <a:extLst>
              <a:ext uri="{FF2B5EF4-FFF2-40B4-BE49-F238E27FC236}">
                <a16:creationId xmlns:a16="http://schemas.microsoft.com/office/drawing/2014/main" id="{F9C57B79-AA28-9245-A716-65172A82E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023564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11" name="Afbeelding 3">
            <a:extLst>
              <a:ext uri="{FF2B5EF4-FFF2-40B4-BE49-F238E27FC236}">
                <a16:creationId xmlns:a16="http://schemas.microsoft.com/office/drawing/2014/main" id="{BDCBFFAD-443B-FA46-8E52-743306638C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6438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einfach 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152" y="2893511"/>
            <a:ext cx="1793202" cy="68141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4992928A-A860-3D41-A533-CE6B6D7242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023564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82675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Titel + Unterti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34;p30" descr="Google Shape;590;p108">
            <a:extLst>
              <a:ext uri="{FF2B5EF4-FFF2-40B4-BE49-F238E27FC236}">
                <a16:creationId xmlns:a16="http://schemas.microsoft.com/office/drawing/2014/main" id="{DE78D77F-7CEA-7445-AB38-6B62949CD4D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4234"/>
          <a:stretch/>
        </p:blipFill>
        <p:spPr>
          <a:xfrm rot="10800000">
            <a:off x="4214373" y="0"/>
            <a:ext cx="715253" cy="15593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35;p30">
            <a:extLst>
              <a:ext uri="{FF2B5EF4-FFF2-40B4-BE49-F238E27FC236}">
                <a16:creationId xmlns:a16="http://schemas.microsoft.com/office/drawing/2014/main" id="{5778EE5D-964D-7F4C-BD03-847B71CD6185}"/>
              </a:ext>
            </a:extLst>
          </p:cNvPr>
          <p:cNvSpPr/>
          <p:nvPr userDrawn="1"/>
        </p:nvSpPr>
        <p:spPr>
          <a:xfrm flipH="1">
            <a:off x="4402980" y="1623293"/>
            <a:ext cx="338039" cy="338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34988" y="2958454"/>
            <a:ext cx="8120538" cy="444500"/>
          </a:xfrm>
        </p:spPr>
        <p:txBody>
          <a:bodyPr anchor="t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9C533977-CAB6-B949-AC99-F2C844DC73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7" name="Afbeelding 3">
            <a:extLst>
              <a:ext uri="{FF2B5EF4-FFF2-40B4-BE49-F238E27FC236}">
                <a16:creationId xmlns:a16="http://schemas.microsoft.com/office/drawing/2014/main" id="{60698BB1-AE1E-7748-83FE-50960F808C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4970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einfach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0153" y="2893511"/>
            <a:ext cx="1793199" cy="68141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D35F5B8A-9390-9542-8E05-73A6C0600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023564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479599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| Titel + Tex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4988" y="1276350"/>
            <a:ext cx="3053118" cy="1913077"/>
          </a:xfrm>
        </p:spPr>
        <p:txBody>
          <a:bodyPr anchor="ctr" anchorCtr="0"/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4" name="Oval 2">
            <a:extLst>
              <a:ext uri="{FF2B5EF4-FFF2-40B4-BE49-F238E27FC236}">
                <a16:creationId xmlns:a16="http://schemas.microsoft.com/office/drawing/2014/main" id="{0F094E69-A9A4-E245-B767-1BA85D09C514}"/>
              </a:ext>
            </a:extLst>
          </p:cNvPr>
          <p:cNvSpPr/>
          <p:nvPr userDrawn="1"/>
        </p:nvSpPr>
        <p:spPr>
          <a:xfrm rot="5400000">
            <a:off x="5479098" y="2132634"/>
            <a:ext cx="197410" cy="19741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grpSp>
        <p:nvGrpSpPr>
          <p:cNvPr id="3" name="Group 4"/>
          <p:cNvGrpSpPr>
            <a:grpSpLocks noChangeAspect="1"/>
          </p:cNvGrpSpPr>
          <p:nvPr userDrawn="1"/>
        </p:nvGrpSpPr>
        <p:grpSpPr bwMode="auto">
          <a:xfrm>
            <a:off x="3740150" y="2029688"/>
            <a:ext cx="1651000" cy="406400"/>
            <a:chOff x="2356" y="1429"/>
            <a:chExt cx="1040" cy="256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2356" y="1429"/>
              <a:ext cx="1040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5" name="Freeform 5"/>
            <p:cNvSpPr>
              <a:spLocks/>
            </p:cNvSpPr>
            <p:nvPr userDrawn="1"/>
          </p:nvSpPr>
          <p:spPr bwMode="auto">
            <a:xfrm>
              <a:off x="3258" y="1440"/>
              <a:ext cx="114" cy="229"/>
            </a:xfrm>
            <a:custGeom>
              <a:avLst/>
              <a:gdLst>
                <a:gd name="T0" fmla="*/ 0 w 189"/>
                <a:gd name="T1" fmla="*/ 0 h 377"/>
                <a:gd name="T2" fmla="*/ 0 w 189"/>
                <a:gd name="T3" fmla="*/ 0 h 377"/>
                <a:gd name="T4" fmla="*/ 189 w 189"/>
                <a:gd name="T5" fmla="*/ 188 h 377"/>
                <a:gd name="T6" fmla="*/ 0 w 189"/>
                <a:gd name="T7" fmla="*/ 37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9" h="377">
                  <a:moveTo>
                    <a:pt x="0" y="0"/>
                  </a:moveTo>
                  <a:lnTo>
                    <a:pt x="0" y="0"/>
                  </a:lnTo>
                  <a:lnTo>
                    <a:pt x="189" y="188"/>
                  </a:lnTo>
                  <a:lnTo>
                    <a:pt x="0" y="377"/>
                  </a:lnTo>
                </a:path>
              </a:pathLst>
            </a:custGeom>
            <a:noFill/>
            <a:ln w="714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2356" y="1555"/>
              <a:ext cx="1002" cy="0"/>
            </a:xfrm>
            <a:custGeom>
              <a:avLst/>
              <a:gdLst>
                <a:gd name="T0" fmla="*/ 0 w 1654"/>
                <a:gd name="T1" fmla="*/ 0 w 1654"/>
                <a:gd name="T2" fmla="*/ 1654 w 165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54">
                  <a:moveTo>
                    <a:pt x="0" y="0"/>
                  </a:moveTo>
                  <a:lnTo>
                    <a:pt x="0" y="0"/>
                  </a:lnTo>
                  <a:lnTo>
                    <a:pt x="1654" y="0"/>
                  </a:lnTo>
                </a:path>
              </a:pathLst>
            </a:custGeom>
            <a:noFill/>
            <a:ln w="71438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8" name="Tijdelijke aanduiding voor tekst 7"/>
          <p:cNvSpPr>
            <a:spLocks noGrp="1"/>
          </p:cNvSpPr>
          <p:nvPr>
            <p:ph type="body" sz="quarter" idx="13"/>
          </p:nvPr>
        </p:nvSpPr>
        <p:spPr>
          <a:xfrm>
            <a:off x="5826557" y="2095653"/>
            <a:ext cx="2822142" cy="1913077"/>
          </a:xfrm>
        </p:spPr>
        <p:txBody>
          <a:bodyPr anchor="t" anchorCtr="0"/>
          <a:lstStyle>
            <a:lvl1pPr marL="171450" indent="-171450">
              <a:buFont typeface="Verdana" panose="020B0604030504040204" pitchFamily="34" charset="0"/>
              <a:buChar char="●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Afbeelding 3">
            <a:extLst>
              <a:ext uri="{FF2B5EF4-FFF2-40B4-BE49-F238E27FC236}">
                <a16:creationId xmlns:a16="http://schemas.microsoft.com/office/drawing/2014/main" id="{C91C17E6-CF13-3444-ABAC-9BAC100389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15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2729"/>
          <a:stretch/>
        </p:blipFill>
        <p:spPr>
          <a:xfrm>
            <a:off x="421437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4402979" y="3088803"/>
            <a:ext cx="338039" cy="338039"/>
          </a:xfrm>
          <a:prstGeom prst="ellipse">
            <a:avLst/>
          </a:prstGeom>
          <a:solidFill>
            <a:srgbClr val="FF860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A503BA51-7E2D-9D4A-8B79-4B93C6AD66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33161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grü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oogle Shape;34;p30" descr="Google Shape;590;p108">
            <a:extLst>
              <a:ext uri="{FF2B5EF4-FFF2-40B4-BE49-F238E27FC236}">
                <a16:creationId xmlns:a16="http://schemas.microsoft.com/office/drawing/2014/main" id="{DE78D77F-7CEA-7445-AB38-6B62949CD4DC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4234"/>
          <a:stretch/>
        </p:blipFill>
        <p:spPr>
          <a:xfrm rot="10800000">
            <a:off x="4214373" y="0"/>
            <a:ext cx="715253" cy="15593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35;p30">
            <a:extLst>
              <a:ext uri="{FF2B5EF4-FFF2-40B4-BE49-F238E27FC236}">
                <a16:creationId xmlns:a16="http://schemas.microsoft.com/office/drawing/2014/main" id="{5778EE5D-964D-7F4C-BD03-847B71CD6185}"/>
              </a:ext>
            </a:extLst>
          </p:cNvPr>
          <p:cNvSpPr/>
          <p:nvPr userDrawn="1"/>
        </p:nvSpPr>
        <p:spPr>
          <a:xfrm flipH="1">
            <a:off x="4402980" y="1623293"/>
            <a:ext cx="338039" cy="338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826E10C-9F3B-EB43-9D06-8E62210F9A8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34988" y="2958454"/>
            <a:ext cx="8120538" cy="444500"/>
          </a:xfrm>
        </p:spPr>
        <p:txBody>
          <a:bodyPr anchor="t"/>
          <a:lstStyle>
            <a:lvl1pPr algn="ctr">
              <a:defRPr sz="16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A948784-B118-7840-80F9-C1951D9A68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52099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ros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2729"/>
          <a:stretch/>
        </p:blipFill>
        <p:spPr>
          <a:xfrm>
            <a:off x="421437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4402979" y="3088803"/>
            <a:ext cx="338039" cy="33803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1105428-8BEA-5F40-A5C9-737E3121F7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989" y="2340686"/>
            <a:ext cx="8120538" cy="528794"/>
          </a:xfrm>
        </p:spPr>
        <p:txBody>
          <a:bodyPr wrap="square" anchor="b" anchorCtr="0">
            <a:normAutofit/>
          </a:bodyPr>
          <a:lstStyle>
            <a:lvl1pPr algn="ctr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2053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| Bild rech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3"/>
          <p:cNvSpPr>
            <a:spLocks noGrp="1" noChangeAspect="1"/>
          </p:cNvSpPr>
          <p:nvPr>
            <p:ph type="pic" sz="quarter" idx="13"/>
          </p:nvPr>
        </p:nvSpPr>
        <p:spPr>
          <a:xfrm>
            <a:off x="4573588" y="0"/>
            <a:ext cx="4570412" cy="5143500"/>
          </a:xfrm>
          <a:solidFill>
            <a:schemeClr val="bg1">
              <a:lumMod val="85000"/>
            </a:schemeClr>
          </a:solidFill>
        </p:spPr>
        <p:txBody>
          <a:bodyPr lIns="144000" tIns="108000"/>
          <a:lstStyle/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34989" y="1738495"/>
            <a:ext cx="3470083" cy="1101725"/>
          </a:xfrm>
        </p:spPr>
        <p:txBody>
          <a:bodyPr anchor="b" anchorCtr="0">
            <a:normAutofit/>
          </a:bodyPr>
          <a:lstStyle>
            <a:lvl1pPr algn="ctr"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  <p:pic>
        <p:nvPicPr>
          <p:cNvPr id="15" name="Google Shape;34;p30" descr="Google Shape;590;p108">
            <a:extLst>
              <a:ext uri="{FF2B5EF4-FFF2-40B4-BE49-F238E27FC236}">
                <a16:creationId xmlns:a16="http://schemas.microsoft.com/office/drawing/2014/main" id="{F77CFE65-B9E1-2C4B-B75F-2BA8323AD6C1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t="12379" b="52729"/>
          <a:stretch/>
        </p:blipFill>
        <p:spPr>
          <a:xfrm>
            <a:off x="1851563" y="3513866"/>
            <a:ext cx="715253" cy="162963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35;p30">
            <a:extLst>
              <a:ext uri="{FF2B5EF4-FFF2-40B4-BE49-F238E27FC236}">
                <a16:creationId xmlns:a16="http://schemas.microsoft.com/office/drawing/2014/main" id="{0AFF12DE-C535-244C-9133-7A8ACDA5FAAD}"/>
              </a:ext>
            </a:extLst>
          </p:cNvPr>
          <p:cNvSpPr/>
          <p:nvPr userDrawn="1"/>
        </p:nvSpPr>
        <p:spPr>
          <a:xfrm rot="10800000" flipH="1">
            <a:off x="2040169" y="3088803"/>
            <a:ext cx="338039" cy="338039"/>
          </a:xfrm>
          <a:prstGeom prst="ellipse">
            <a:avLst/>
          </a:prstGeom>
          <a:solidFill>
            <a:srgbClr val="FF860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36284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| Bild mit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31C88D2-0DFE-C641-842F-6B9C52B24F35}"/>
              </a:ext>
            </a:extLst>
          </p:cNvPr>
          <p:cNvSpPr/>
          <p:nvPr userDrawn="1"/>
        </p:nvSpPr>
        <p:spPr>
          <a:xfrm>
            <a:off x="0" y="0"/>
            <a:ext cx="2919876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984BCE0-0F7B-0D41-8484-DB4DE89591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923535" y="0"/>
            <a:ext cx="3850340" cy="5143500"/>
          </a:xfrm>
          <a:solidFill>
            <a:schemeClr val="tx1">
              <a:lumMod val="10000"/>
              <a:lumOff val="9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x-non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4FE3013-98EF-7545-B37F-27088F2408EF}"/>
              </a:ext>
            </a:extLst>
          </p:cNvPr>
          <p:cNvSpPr/>
          <p:nvPr userDrawn="1"/>
        </p:nvSpPr>
        <p:spPr>
          <a:xfrm>
            <a:off x="6759316" y="0"/>
            <a:ext cx="2383638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solidFill>
                <a:srgbClr val="FFFFFF"/>
              </a:solidFill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D3CB9A4-DCAE-EF4D-91FC-867C64FFEF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4852" y="1250744"/>
            <a:ext cx="2165130" cy="1597438"/>
          </a:xfrm>
          <a:noFill/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A494B03-D101-114B-9B88-D9676662D3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4852" y="2890459"/>
            <a:ext cx="2165131" cy="523221"/>
          </a:xfrm>
        </p:spPr>
        <p:txBody>
          <a:bodyPr anchor="ctr">
            <a:norm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E4C004F-4689-6645-B4F7-EE1D382274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59895" y="3267610"/>
            <a:ext cx="1821545" cy="523221"/>
          </a:xfrm>
        </p:spPr>
        <p:txBody>
          <a:bodyPr anchor="ctr">
            <a:normAutofit/>
          </a:bodyPr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reeform 5"/>
          <p:cNvSpPr>
            <a:spLocks/>
          </p:cNvSpPr>
          <p:nvPr userDrawn="1"/>
        </p:nvSpPr>
        <p:spPr bwMode="auto">
          <a:xfrm>
            <a:off x="7275513" y="2940050"/>
            <a:ext cx="244475" cy="246063"/>
          </a:xfrm>
          <a:custGeom>
            <a:avLst/>
            <a:gdLst>
              <a:gd name="T0" fmla="*/ 352 w 352"/>
              <a:gd name="T1" fmla="*/ 176 h 353"/>
              <a:gd name="T2" fmla="*/ 352 w 352"/>
              <a:gd name="T3" fmla="*/ 176 h 353"/>
              <a:gd name="T4" fmla="*/ 176 w 352"/>
              <a:gd name="T5" fmla="*/ 353 h 353"/>
              <a:gd name="T6" fmla="*/ 0 w 352"/>
              <a:gd name="T7" fmla="*/ 176 h 353"/>
              <a:gd name="T8" fmla="*/ 176 w 352"/>
              <a:gd name="T9" fmla="*/ 0 h 353"/>
              <a:gd name="T10" fmla="*/ 352 w 352"/>
              <a:gd name="T11" fmla="*/ 176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3">
                <a:moveTo>
                  <a:pt x="352" y="176"/>
                </a:moveTo>
                <a:lnTo>
                  <a:pt x="352" y="176"/>
                </a:lnTo>
                <a:cubicBezTo>
                  <a:pt x="352" y="274"/>
                  <a:pt x="273" y="353"/>
                  <a:pt x="176" y="353"/>
                </a:cubicBezTo>
                <a:cubicBezTo>
                  <a:pt x="78" y="353"/>
                  <a:pt x="0" y="274"/>
                  <a:pt x="0" y="176"/>
                </a:cubicBezTo>
                <a:cubicBezTo>
                  <a:pt x="0" y="79"/>
                  <a:pt x="78" y="0"/>
                  <a:pt x="176" y="0"/>
                </a:cubicBezTo>
                <a:cubicBezTo>
                  <a:pt x="273" y="0"/>
                  <a:pt x="352" y="79"/>
                  <a:pt x="352" y="176"/>
                </a:cubicBezTo>
                <a:close/>
              </a:path>
            </a:pathLst>
          </a:custGeom>
          <a:solidFill>
            <a:srgbClr val="00C2F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8" name="Freeform 6"/>
          <p:cNvSpPr>
            <a:spLocks/>
          </p:cNvSpPr>
          <p:nvPr userDrawn="1"/>
        </p:nvSpPr>
        <p:spPr bwMode="auto">
          <a:xfrm>
            <a:off x="522288" y="3530600"/>
            <a:ext cx="244475" cy="244475"/>
          </a:xfrm>
          <a:custGeom>
            <a:avLst/>
            <a:gdLst>
              <a:gd name="T0" fmla="*/ 352 w 352"/>
              <a:gd name="T1" fmla="*/ 176 h 352"/>
              <a:gd name="T2" fmla="*/ 352 w 352"/>
              <a:gd name="T3" fmla="*/ 176 h 352"/>
              <a:gd name="T4" fmla="*/ 176 w 352"/>
              <a:gd name="T5" fmla="*/ 352 h 352"/>
              <a:gd name="T6" fmla="*/ 0 w 352"/>
              <a:gd name="T7" fmla="*/ 176 h 352"/>
              <a:gd name="T8" fmla="*/ 176 w 352"/>
              <a:gd name="T9" fmla="*/ 0 h 352"/>
              <a:gd name="T10" fmla="*/ 352 w 352"/>
              <a:gd name="T11" fmla="*/ 176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52" h="352">
                <a:moveTo>
                  <a:pt x="352" y="176"/>
                </a:moveTo>
                <a:lnTo>
                  <a:pt x="352" y="176"/>
                </a:lnTo>
                <a:cubicBezTo>
                  <a:pt x="352" y="274"/>
                  <a:pt x="273" y="352"/>
                  <a:pt x="176" y="352"/>
                </a:cubicBezTo>
                <a:cubicBezTo>
                  <a:pt x="78" y="352"/>
                  <a:pt x="0" y="274"/>
                  <a:pt x="0" y="176"/>
                </a:cubicBezTo>
                <a:cubicBezTo>
                  <a:pt x="0" y="79"/>
                  <a:pt x="78" y="0"/>
                  <a:pt x="176" y="0"/>
                </a:cubicBezTo>
                <a:cubicBezTo>
                  <a:pt x="273" y="0"/>
                  <a:pt x="352" y="79"/>
                  <a:pt x="352" y="176"/>
                </a:cubicBezTo>
                <a:close/>
              </a:path>
            </a:pathLst>
          </a:custGeom>
          <a:solidFill>
            <a:srgbClr val="FF820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auto">
          <a:xfrm>
            <a:off x="6991350" y="2894013"/>
            <a:ext cx="158750" cy="319088"/>
          </a:xfrm>
          <a:custGeom>
            <a:avLst/>
            <a:gdLst>
              <a:gd name="T0" fmla="*/ 0 w 230"/>
              <a:gd name="T1" fmla="*/ 0 h 459"/>
              <a:gd name="T2" fmla="*/ 0 w 230"/>
              <a:gd name="T3" fmla="*/ 0 h 459"/>
              <a:gd name="T4" fmla="*/ 230 w 230"/>
              <a:gd name="T5" fmla="*/ 229 h 459"/>
              <a:gd name="T6" fmla="*/ 0 w 230"/>
              <a:gd name="T7" fmla="*/ 459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30" h="459">
                <a:moveTo>
                  <a:pt x="0" y="0"/>
                </a:moveTo>
                <a:lnTo>
                  <a:pt x="0" y="0"/>
                </a:lnTo>
                <a:lnTo>
                  <a:pt x="230" y="229"/>
                </a:lnTo>
                <a:lnTo>
                  <a:pt x="0" y="459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auto">
          <a:xfrm>
            <a:off x="6742113" y="3054350"/>
            <a:ext cx="392112" cy="0"/>
          </a:xfrm>
          <a:custGeom>
            <a:avLst/>
            <a:gdLst>
              <a:gd name="T0" fmla="*/ 566 w 566"/>
              <a:gd name="T1" fmla="*/ 566 w 566"/>
              <a:gd name="T2" fmla="*/ 0 w 5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566">
                <a:moveTo>
                  <a:pt x="566" y="0"/>
                </a:moveTo>
                <a:lnTo>
                  <a:pt x="566" y="0"/>
                </a:lnTo>
                <a:lnTo>
                  <a:pt x="0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auto">
          <a:xfrm>
            <a:off x="6316663" y="3054350"/>
            <a:ext cx="439737" cy="762000"/>
          </a:xfrm>
          <a:custGeom>
            <a:avLst/>
            <a:gdLst>
              <a:gd name="T0" fmla="*/ 633 w 633"/>
              <a:gd name="T1" fmla="*/ 1 h 1096"/>
              <a:gd name="T2" fmla="*/ 633 w 633"/>
              <a:gd name="T3" fmla="*/ 1 h 1096"/>
              <a:gd name="T4" fmla="*/ 613 w 633"/>
              <a:gd name="T5" fmla="*/ 1 h 1096"/>
              <a:gd name="T6" fmla="*/ 549 w 633"/>
              <a:gd name="T7" fmla="*/ 0 h 1096"/>
              <a:gd name="T8" fmla="*/ 0 w 633"/>
              <a:gd name="T9" fmla="*/ 549 h 1096"/>
              <a:gd name="T10" fmla="*/ 0 w 633"/>
              <a:gd name="T11" fmla="*/ 1096 h 1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1096">
                <a:moveTo>
                  <a:pt x="633" y="1"/>
                </a:moveTo>
                <a:lnTo>
                  <a:pt x="633" y="1"/>
                </a:lnTo>
                <a:lnTo>
                  <a:pt x="613" y="1"/>
                </a:lnTo>
                <a:lnTo>
                  <a:pt x="549" y="0"/>
                </a:lnTo>
                <a:cubicBezTo>
                  <a:pt x="246" y="0"/>
                  <a:pt x="0" y="246"/>
                  <a:pt x="0" y="549"/>
                </a:cubicBezTo>
                <a:lnTo>
                  <a:pt x="0" y="1096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6" name="Freeform 10"/>
          <p:cNvSpPr>
            <a:spLocks/>
          </p:cNvSpPr>
          <p:nvPr userDrawn="1"/>
        </p:nvSpPr>
        <p:spPr bwMode="auto">
          <a:xfrm>
            <a:off x="2892425" y="3816350"/>
            <a:ext cx="3424237" cy="503238"/>
          </a:xfrm>
          <a:custGeom>
            <a:avLst/>
            <a:gdLst>
              <a:gd name="T0" fmla="*/ 4940 w 4940"/>
              <a:gd name="T1" fmla="*/ 0 h 722"/>
              <a:gd name="T2" fmla="*/ 4940 w 4940"/>
              <a:gd name="T3" fmla="*/ 0 h 722"/>
              <a:gd name="T4" fmla="*/ 4218 w 4940"/>
              <a:gd name="T5" fmla="*/ 722 h 722"/>
              <a:gd name="T6" fmla="*/ 0 w 4940"/>
              <a:gd name="T7" fmla="*/ 722 h 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940" h="722">
                <a:moveTo>
                  <a:pt x="4940" y="0"/>
                </a:moveTo>
                <a:lnTo>
                  <a:pt x="4940" y="0"/>
                </a:lnTo>
                <a:cubicBezTo>
                  <a:pt x="4940" y="399"/>
                  <a:pt x="4617" y="722"/>
                  <a:pt x="4218" y="722"/>
                </a:cubicBezTo>
                <a:lnTo>
                  <a:pt x="0" y="722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7" name="Freeform 11"/>
          <p:cNvSpPr>
            <a:spLocks/>
          </p:cNvSpPr>
          <p:nvPr userDrawn="1"/>
        </p:nvSpPr>
        <p:spPr bwMode="auto">
          <a:xfrm>
            <a:off x="2727325" y="3986213"/>
            <a:ext cx="457200" cy="333375"/>
          </a:xfrm>
          <a:custGeom>
            <a:avLst/>
            <a:gdLst>
              <a:gd name="T0" fmla="*/ 239 w 660"/>
              <a:gd name="T1" fmla="*/ 478 h 478"/>
              <a:gd name="T2" fmla="*/ 239 w 660"/>
              <a:gd name="T3" fmla="*/ 478 h 478"/>
              <a:gd name="T4" fmla="*/ 0 w 660"/>
              <a:gd name="T5" fmla="*/ 239 h 478"/>
              <a:gd name="T6" fmla="*/ 239 w 660"/>
              <a:gd name="T7" fmla="*/ 0 h 478"/>
              <a:gd name="T8" fmla="*/ 660 w 660"/>
              <a:gd name="T9" fmla="*/ 0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60" h="478">
                <a:moveTo>
                  <a:pt x="239" y="478"/>
                </a:moveTo>
                <a:lnTo>
                  <a:pt x="239" y="478"/>
                </a:lnTo>
                <a:cubicBezTo>
                  <a:pt x="107" y="478"/>
                  <a:pt x="0" y="371"/>
                  <a:pt x="0" y="239"/>
                </a:cubicBezTo>
                <a:cubicBezTo>
                  <a:pt x="0" y="107"/>
                  <a:pt x="107" y="0"/>
                  <a:pt x="239" y="0"/>
                </a:cubicBezTo>
                <a:lnTo>
                  <a:pt x="660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sp>
        <p:nvSpPr>
          <p:cNvPr id="19" name="Freeform 12"/>
          <p:cNvSpPr>
            <a:spLocks/>
          </p:cNvSpPr>
          <p:nvPr userDrawn="1"/>
        </p:nvSpPr>
        <p:spPr bwMode="auto">
          <a:xfrm>
            <a:off x="831850" y="3652838"/>
            <a:ext cx="2517775" cy="333375"/>
          </a:xfrm>
          <a:custGeom>
            <a:avLst/>
            <a:gdLst>
              <a:gd name="T0" fmla="*/ 3394 w 3633"/>
              <a:gd name="T1" fmla="*/ 479 h 479"/>
              <a:gd name="T2" fmla="*/ 3394 w 3633"/>
              <a:gd name="T3" fmla="*/ 479 h 479"/>
              <a:gd name="T4" fmla="*/ 3633 w 3633"/>
              <a:gd name="T5" fmla="*/ 239 h 479"/>
              <a:gd name="T6" fmla="*/ 3394 w 3633"/>
              <a:gd name="T7" fmla="*/ 0 h 479"/>
              <a:gd name="T8" fmla="*/ 0 w 3633"/>
              <a:gd name="T9" fmla="*/ 0 h 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3" h="479">
                <a:moveTo>
                  <a:pt x="3394" y="479"/>
                </a:moveTo>
                <a:lnTo>
                  <a:pt x="3394" y="479"/>
                </a:lnTo>
                <a:cubicBezTo>
                  <a:pt x="3526" y="479"/>
                  <a:pt x="3633" y="372"/>
                  <a:pt x="3633" y="239"/>
                </a:cubicBezTo>
                <a:cubicBezTo>
                  <a:pt x="3633" y="107"/>
                  <a:pt x="3526" y="0"/>
                  <a:pt x="3394" y="0"/>
                </a:cubicBezTo>
                <a:lnTo>
                  <a:pt x="0" y="0"/>
                </a:lnTo>
              </a:path>
            </a:pathLst>
          </a:custGeom>
          <a:noFill/>
          <a:ln w="71438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0" name="Afbeelding 3">
            <a:extLst>
              <a:ext uri="{FF2B5EF4-FFF2-40B4-BE49-F238E27FC236}">
                <a16:creationId xmlns:a16="http://schemas.microsoft.com/office/drawing/2014/main" id="{064E1D85-D657-B746-8AB4-E7A14648C4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7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251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F8B0F4-4A7F-474D-B4C3-58C925530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11984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06" imgH="306" progId="TCLayout.ActiveDocument.1">
                  <p:embed/>
                </p:oleObj>
              </mc:Choice>
              <mc:Fallback>
                <p:oleObj name="think-cell Folie" r:id="rId3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3F8B0F4-4A7F-474D-B4C3-58C925530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768475"/>
            <a:ext cx="8191500" cy="2774950"/>
          </a:xfrm>
          <a:prstGeom prst="rect">
            <a:avLst/>
          </a:prstGeom>
        </p:spPr>
        <p:txBody>
          <a:bodyPr vert="horz" lIns="61200" tIns="36000" rIns="36000" bIns="36000" rtlCol="0">
            <a:noAutofit/>
          </a:bodyPr>
          <a:lstStyle/>
          <a:p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Textebene</a:t>
            </a:r>
            <a:endParaRPr lang="en-US" dirty="0"/>
          </a:p>
          <a:p>
            <a:pPr lvl="1"/>
            <a:r>
              <a:rPr lang="en-US" dirty="0"/>
              <a:t>1</a:t>
            </a:r>
          </a:p>
          <a:p>
            <a:pPr lvl="2"/>
            <a:r>
              <a:rPr lang="en-US" dirty="0"/>
              <a:t>2</a:t>
            </a:r>
          </a:p>
          <a:p>
            <a:pPr lvl="3"/>
            <a:r>
              <a:rPr lang="en-US" dirty="0"/>
              <a:t>3</a:t>
            </a:r>
          </a:p>
          <a:p>
            <a:pPr lvl="4"/>
            <a:r>
              <a:rPr lang="en-US" dirty="0"/>
              <a:t>4</a:t>
            </a:r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70410" y="165671"/>
            <a:ext cx="8178290" cy="540000"/>
          </a:xfrm>
          <a:prstGeom prst="rect">
            <a:avLst/>
          </a:prstGeom>
        </p:spPr>
        <p:txBody>
          <a:bodyPr vert="horz" lIns="36000" tIns="0" rIns="36000" bIns="36000" rtlCol="0" anchor="t" anchorCtr="0">
            <a:noAutofit/>
          </a:bodyPr>
          <a:lstStyle/>
          <a:p>
            <a:endParaRPr lang="nl-NL" dirty="0"/>
          </a:p>
        </p:txBody>
      </p:sp>
      <p:sp>
        <p:nvSpPr>
          <p:cNvPr id="16" name="Rectangle 11">
            <a:extLst>
              <a:ext uri="{FF2B5EF4-FFF2-40B4-BE49-F238E27FC236}">
                <a16:creationId xmlns:a16="http://schemas.microsoft.com/office/drawing/2014/main" id="{D0C0B165-3B15-D842-BDA3-8C91EFC1E4A4}"/>
              </a:ext>
            </a:extLst>
          </p:cNvPr>
          <p:cNvSpPr/>
          <p:nvPr userDrawn="1"/>
        </p:nvSpPr>
        <p:spPr>
          <a:xfrm>
            <a:off x="0" y="4614530"/>
            <a:ext cx="9144000" cy="5289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US" sz="1000" dirty="0" err="1"/>
          </a:p>
        </p:txBody>
      </p:sp>
      <p:sp>
        <p:nvSpPr>
          <p:cNvPr id="18" name="Rectangle 25">
            <a:extLst>
              <a:ext uri="{FF2B5EF4-FFF2-40B4-BE49-F238E27FC236}">
                <a16:creationId xmlns:a16="http://schemas.microsoft.com/office/drawing/2014/main" id="{21D1207C-4351-CE43-8868-0E10F6067E2C}"/>
              </a:ext>
            </a:extLst>
          </p:cNvPr>
          <p:cNvSpPr/>
          <p:nvPr userDrawn="1"/>
        </p:nvSpPr>
        <p:spPr>
          <a:xfrm>
            <a:off x="5967948" y="4762596"/>
            <a:ext cx="2801515" cy="2197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de-DE" sz="600" dirty="0" err="1">
                <a:solidFill>
                  <a:schemeClr val="tx1"/>
                </a:solidFill>
              </a:rPr>
              <a:t>Strictly</a:t>
            </a:r>
            <a:r>
              <a:rPr lang="de-DE" sz="600" dirty="0">
                <a:solidFill>
                  <a:schemeClr val="tx1"/>
                </a:solidFill>
              </a:rPr>
              <a:t> </a:t>
            </a:r>
            <a:r>
              <a:rPr lang="de-DE" sz="600" dirty="0" err="1">
                <a:solidFill>
                  <a:schemeClr val="tx1"/>
                </a:solidFill>
              </a:rPr>
              <a:t>confidential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8A7AF92A-AB87-C045-8B58-0C0F270E11FE}"/>
              </a:ext>
            </a:extLst>
          </p:cNvPr>
          <p:cNvSpPr/>
          <p:nvPr userDrawn="1"/>
        </p:nvSpPr>
        <p:spPr>
          <a:xfrm>
            <a:off x="738310" y="4762596"/>
            <a:ext cx="4392563" cy="2197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en-US" sz="600" dirty="0">
                <a:solidFill>
                  <a:schemeClr val="tx1"/>
                </a:solidFill>
              </a:rPr>
              <a:t>Compensation certificate access guideline| August 2022 </a:t>
            </a: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BE0F4D4D-638A-B84A-BFF5-BC2687240750}"/>
              </a:ext>
            </a:extLst>
          </p:cNvPr>
          <p:cNvSpPr/>
          <p:nvPr userDrawn="1"/>
        </p:nvSpPr>
        <p:spPr>
          <a:xfrm>
            <a:off x="457200" y="4762596"/>
            <a:ext cx="374537" cy="2197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fld id="{1858DF1F-64F1-4F3B-8F64-1BAC06C2A1B3}" type="slidenum">
              <a:rPr lang="nl-NL" sz="600" smtClean="0">
                <a:solidFill>
                  <a:schemeClr val="tx1"/>
                </a:solidFill>
              </a:rPr>
              <a:pPr/>
              <a:t>‹Nr.›</a:t>
            </a:fld>
            <a:r>
              <a:rPr lang="nl-NL" sz="600" dirty="0">
                <a:solidFill>
                  <a:schemeClr val="tx1"/>
                </a:solidFill>
              </a:rPr>
              <a:t> </a:t>
            </a:r>
            <a:r>
              <a:rPr lang="en-US" sz="600" dirty="0">
                <a:solidFill>
                  <a:schemeClr val="tx1"/>
                </a:solidFill>
              </a:rPr>
              <a:t>|</a:t>
            </a:r>
            <a:endParaRPr lang="nl-NL" sz="600" dirty="0">
              <a:solidFill>
                <a:schemeClr val="tx1"/>
              </a:solidFill>
            </a:endParaRPr>
          </a:p>
        </p:txBody>
      </p:sp>
      <p:pic>
        <p:nvPicPr>
          <p:cNvPr id="22" name="Afbeelding 25">
            <a:extLst>
              <a:ext uri="{FF2B5EF4-FFF2-40B4-BE49-F238E27FC236}">
                <a16:creationId xmlns:a16="http://schemas.microsoft.com/office/drawing/2014/main" id="{8226492D-9A98-C640-AB0C-8C88E6FCA37F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335" y="4743578"/>
            <a:ext cx="634736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884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77" r:id="rId2"/>
    <p:sldLayoutId id="2147483778" r:id="rId3"/>
    <p:sldLayoutId id="2147483829" r:id="rId4"/>
    <p:sldLayoutId id="2147483783" r:id="rId5"/>
    <p:sldLayoutId id="2147483784" r:id="rId6"/>
    <p:sldLayoutId id="2147483785" r:id="rId7"/>
    <p:sldLayoutId id="2147483831" r:id="rId8"/>
    <p:sldLayoutId id="2147483855" r:id="rId9"/>
    <p:sldLayoutId id="2147483786" r:id="rId10"/>
    <p:sldLayoutId id="2147483766" r:id="rId11"/>
    <p:sldLayoutId id="2147483858" r:id="rId12"/>
    <p:sldLayoutId id="2147483842" r:id="rId13"/>
    <p:sldLayoutId id="2147483835" r:id="rId14"/>
    <p:sldLayoutId id="2147483841" r:id="rId15"/>
    <p:sldLayoutId id="2147483865" r:id="rId16"/>
    <p:sldLayoutId id="2147483866" r:id="rId17"/>
    <p:sldLayoutId id="2147483867" r:id="rId18"/>
    <p:sldLayoutId id="2147483848" r:id="rId19"/>
    <p:sldLayoutId id="2147483849" r:id="rId20"/>
    <p:sldLayoutId id="2147483851" r:id="rId21"/>
    <p:sldLayoutId id="2147483860" r:id="rId22"/>
    <p:sldLayoutId id="2147483861" r:id="rId23"/>
    <p:sldLayoutId id="2147483833" r:id="rId24"/>
    <p:sldLayoutId id="2147483780" r:id="rId25"/>
    <p:sldLayoutId id="2147483781" r:id="rId26"/>
    <p:sldLayoutId id="2147483830" r:id="rId27"/>
    <p:sldLayoutId id="2147483859" r:id="rId28"/>
    <p:sldLayoutId id="2147483779" r:id="rId29"/>
    <p:sldLayoutId id="2147483787" r:id="rId30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144000" algn="l" defTabSz="914400" rtl="0" eaLnBrk="1" latinLnBrk="0" hangingPunct="1">
        <a:spcBef>
          <a:spcPts val="600"/>
        </a:spcBef>
        <a:buClr>
          <a:schemeClr val="tx2"/>
        </a:buClr>
        <a:buSzPct val="12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44000" algn="l" defTabSz="914400" rtl="0" eaLnBrk="1" latinLnBrk="0" hangingPunct="1">
        <a:spcBef>
          <a:spcPts val="600"/>
        </a:spcBef>
        <a:buClr>
          <a:schemeClr val="tx2"/>
        </a:buClr>
        <a:buFont typeface="Verdana" panose="020B0604030504040204" pitchFamily="34" charset="0"/>
        <a:buChar char="‒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10000" indent="-144000" algn="l" defTabSz="914400" rtl="0" eaLnBrk="1" latinLnBrk="0" hangingPunct="1">
        <a:spcBef>
          <a:spcPts val="600"/>
        </a:spcBef>
        <a:buClr>
          <a:schemeClr val="tx2"/>
        </a:buClr>
        <a:buSzPct val="80000"/>
        <a:buFont typeface="Courier New" panose="02070309020205020404" pitchFamily="49" charset="0"/>
        <a:buChar char="o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144000" algn="l" defTabSz="914400" rtl="0" eaLnBrk="1" latinLnBrk="0" hangingPunct="1">
        <a:spcBef>
          <a:spcPts val="600"/>
        </a:spcBef>
        <a:buClr>
          <a:schemeClr val="tx2"/>
        </a:buClr>
        <a:buSzPct val="70000"/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60" userDrawn="1">
          <p15:clr>
            <a:srgbClr val="F26B43"/>
          </p15:clr>
        </p15:guide>
        <p15:guide id="2" pos="4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7.jp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5.xml"/><Relationship Id="rId6" Type="http://schemas.openxmlformats.org/officeDocument/2006/relationships/image" Target="../media/image9.png"/><Relationship Id="rId5" Type="http://schemas.openxmlformats.org/officeDocument/2006/relationships/hyperlink" Target="https://auth.dc.gls-group.eu/auth/realms/gls/protocol/openid-connect/auth?client_id=customer-portal-spa&amp;redirect_uri=https%3A%2F%2Fkundenportal.gls-group.eu&amp;response_type=code&amp;scope=openid%20profile%20email&amp;nonce=373cdbee22f79a83a22afbc2fa342ce0b6ASR7gmZ&amp;state=ce67bffa778a1e3736994e2794fa9d9d2etDXYvqF&amp;code_challenge=jl16E2uGrlonx4ElFR1fVhH5MTycIvjn6OHhoNpf3cs&amp;code_challenge_method=S256" TargetMode="Externa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7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8.xml"/><Relationship Id="rId5" Type="http://schemas.openxmlformats.org/officeDocument/2006/relationships/image" Target="../media/image17.png"/><Relationship Id="rId4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9.xml"/><Relationship Id="rId6" Type="http://schemas.openxmlformats.org/officeDocument/2006/relationships/image" Target="../media/image18.png"/><Relationship Id="rId5" Type="http://schemas.openxmlformats.org/officeDocument/2006/relationships/hyperlink" Target="https://gls-group.eu/DE/en/compensation/" TargetMode="External"/><Relationship Id="rId4" Type="http://schemas.openxmlformats.org/officeDocument/2006/relationships/image" Target="../media/image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19.jpeg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2018189-1E5F-48ED-8E7E-5969ACFC19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4226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2018189-1E5F-48ED-8E7E-5969ACFC1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90103BA-0763-4FFE-A610-DEFAD9577D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7018" y="3343277"/>
            <a:ext cx="3248891" cy="1041247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b="1" dirty="0">
                <a:latin typeface="Newson GLS" panose="020B0603040202020204" pitchFamily="34" charset="0"/>
                <a:ea typeface="Newson GLS" panose="020B0603040202020204" pitchFamily="34" charset="0"/>
              </a:rPr>
              <a:t>In four steps to your</a:t>
            </a:r>
            <a:br>
              <a:rPr lang="en-US" sz="1600" b="1" dirty="0">
                <a:latin typeface="Newson GLS" panose="020B0603040202020204" pitchFamily="34" charset="0"/>
                <a:ea typeface="Newson GLS" panose="020B0603040202020204" pitchFamily="34" charset="0"/>
              </a:rPr>
            </a:br>
            <a:r>
              <a:rPr lang="en-US" sz="1600" b="1" dirty="0">
                <a:latin typeface="Newson GLS" panose="020B0603040202020204" pitchFamily="34" charset="0"/>
                <a:ea typeface="Newson GLS" panose="020B0603040202020204" pitchFamily="34" charset="0"/>
              </a:rPr>
              <a:t>Compensation Certificat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2EFFDFF4-342F-418C-A9AD-BDE15F52149D}"/>
              </a:ext>
            </a:extLst>
          </p:cNvPr>
          <p:cNvSpPr txBox="1">
            <a:spLocks/>
          </p:cNvSpPr>
          <p:nvPr/>
        </p:nvSpPr>
        <p:spPr>
          <a:xfrm>
            <a:off x="4616451" y="644246"/>
            <a:ext cx="4286250" cy="115597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  <a:softEdge rad="127000"/>
          </a:effectLst>
        </p:spPr>
        <p:txBody>
          <a:bodyPr vert="horz" wrap="square" lIns="36000" tIns="0" rIns="36000" bIns="36000" rtlCol="0" anchor="ctr" anchorCtr="0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latin typeface="Newson GLS" panose="020B0603040202020204" pitchFamily="34" charset="0"/>
                <a:ea typeface="Newson GLS" panose="020B0603040202020204" pitchFamily="34" charset="0"/>
              </a:rPr>
              <a:t>Your contribution to sustainability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EB9B333B-169F-4307-A2DF-AACCB28B26E4}"/>
              </a:ext>
            </a:extLst>
          </p:cNvPr>
          <p:cNvSpPr/>
          <p:nvPr/>
        </p:nvSpPr>
        <p:spPr>
          <a:xfrm>
            <a:off x="3491697" y="1800225"/>
            <a:ext cx="2510921" cy="7207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000" dirty="0" err="1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EE9F52F-1812-4FA1-BCCF-92E137C8BD2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529" r="20625"/>
          <a:stretch/>
        </p:blipFill>
        <p:spPr>
          <a:xfrm>
            <a:off x="0" y="0"/>
            <a:ext cx="4464050" cy="514350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F7370CD-EFA9-4FA2-A598-2AEDD00829A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791" r="7126"/>
          <a:stretch/>
        </p:blipFill>
        <p:spPr>
          <a:xfrm rot="5400000">
            <a:off x="6070600" y="2182201"/>
            <a:ext cx="1377950" cy="798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9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5C7A42E-DC1C-4E48-8167-1307E8F0C9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018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5C7A42E-DC1C-4E48-8167-1307E8F0C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095CD59-4895-4C6D-88A7-6ADB9E88D4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1880" y="767451"/>
            <a:ext cx="2146767" cy="135502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tep 1:</a:t>
            </a:r>
          </a:p>
          <a:p>
            <a:pPr>
              <a:spcAft>
                <a:spcPts val="600"/>
              </a:spcAft>
            </a:pPr>
            <a:r>
              <a:rPr lang="en-US" sz="1800" dirty="0">
                <a:latin typeface="Newson GLS" panose="020B0603040202020204" pitchFamily="34" charset="0"/>
                <a:ea typeface="Newson GLS" panose="020B0603040202020204" pitchFamily="34" charset="0"/>
              </a:rPr>
              <a:t>Login to the GLS Customer Portal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23E1BD3-552E-49A5-B2A6-1038DF60EC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71880" y="1925621"/>
            <a:ext cx="2303188" cy="1873799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Log in to our </a:t>
            </a:r>
            <a:r>
              <a:rPr lang="en-US" b="1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LS Customer Portal</a:t>
            </a: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  <a:hlinkClick r:id="rId5"/>
              </a:rPr>
              <a:t> </a:t>
            </a: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with your </a:t>
            </a:r>
            <a:r>
              <a:rPr lang="en-US" b="1" dirty="0">
                <a:latin typeface="Newson GLS" panose="020B0603040202020204" pitchFamily="34" charset="0"/>
                <a:ea typeface="Newson GLS" panose="020B0603040202020204" pitchFamily="34" charset="0"/>
              </a:rPr>
              <a:t>customer</a:t>
            </a: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 </a:t>
            </a:r>
            <a:r>
              <a:rPr lang="en-US" b="1" dirty="0">
                <a:latin typeface="Newson GLS" panose="020B0603040202020204" pitchFamily="34" charset="0"/>
                <a:ea typeface="Newson GLS" panose="020B0603040202020204" pitchFamily="34" charset="0"/>
              </a:rPr>
              <a:t>data</a:t>
            </a:r>
            <a:endParaRPr lang="de-DE" sz="1300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E3BE72B-5D43-DF6D-AAB1-ED225E93C73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2742954" y="443694"/>
            <a:ext cx="6229166" cy="26170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154ADF3A-35C3-D6FB-7986-87895B8525F8}"/>
              </a:ext>
            </a:extLst>
          </p:cNvPr>
          <p:cNvSpPr/>
          <p:nvPr/>
        </p:nvSpPr>
        <p:spPr>
          <a:xfrm>
            <a:off x="8472518" y="124521"/>
            <a:ext cx="288000" cy="319173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58E9454-7AD8-3DAC-CEF7-89C5C28ACEF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4825620" y="2612745"/>
            <a:ext cx="2063834" cy="235533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Pfeil: nach unten 6">
            <a:extLst>
              <a:ext uri="{FF2B5EF4-FFF2-40B4-BE49-F238E27FC236}">
                <a16:creationId xmlns:a16="http://schemas.microsoft.com/office/drawing/2014/main" id="{BDCCFC52-8BC8-8AFA-6AD0-B4C1C7E69243}"/>
              </a:ext>
            </a:extLst>
          </p:cNvPr>
          <p:cNvSpPr/>
          <p:nvPr/>
        </p:nvSpPr>
        <p:spPr>
          <a:xfrm rot="5400000">
            <a:off x="6900141" y="1852471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10" name="Pfeil: nach unten 9">
            <a:extLst>
              <a:ext uri="{FF2B5EF4-FFF2-40B4-BE49-F238E27FC236}">
                <a16:creationId xmlns:a16="http://schemas.microsoft.com/office/drawing/2014/main" id="{BCCF9FF5-2173-DA62-D413-7B5D535E965A}"/>
              </a:ext>
            </a:extLst>
          </p:cNvPr>
          <p:cNvSpPr/>
          <p:nvPr/>
        </p:nvSpPr>
        <p:spPr>
          <a:xfrm rot="5400000">
            <a:off x="6900141" y="4319024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703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33053D3-4431-4B6F-A6DC-AE85B08B2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87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33053D3-4431-4B6F-A6DC-AE85B08B2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ABB5680-89F6-44F1-B670-54B4F1CD8F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4924" y="429298"/>
            <a:ext cx="2302876" cy="167216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800" b="1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tep 2:</a:t>
            </a:r>
          </a:p>
          <a:p>
            <a:pPr>
              <a:spcAft>
                <a:spcPts val="600"/>
              </a:spcAft>
            </a:pPr>
            <a:r>
              <a:rPr lang="en-US" sz="1800" b="1" dirty="0">
                <a:latin typeface="Newson GLS" panose="020B0603040202020204" pitchFamily="34" charset="0"/>
                <a:ea typeface="Newson GLS" panose="020B0603040202020204" pitchFamily="34" charset="0"/>
              </a:rPr>
              <a:t>Selection of documents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415EFE7-4743-4F5B-9F97-0B72861A9A0E}"/>
              </a:ext>
            </a:extLst>
          </p:cNvPr>
          <p:cNvSpPr txBox="1">
            <a:spLocks/>
          </p:cNvSpPr>
          <p:nvPr/>
        </p:nvSpPr>
        <p:spPr>
          <a:xfrm>
            <a:off x="6764923" y="1640663"/>
            <a:ext cx="2379077" cy="14379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‒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80000"/>
              <a:buFont typeface="Courier New" panose="02070309020205020404" pitchFamily="49" charset="0"/>
              <a:buChar char="o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Within your dashboard you will find the </a:t>
            </a:r>
            <a:r>
              <a:rPr lang="en-US" sz="1200" b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tab “documents”</a:t>
            </a:r>
            <a:endParaRPr lang="en-US" sz="1200" dirty="0">
              <a:solidFill>
                <a:schemeClr val="bg1"/>
              </a:solidFill>
              <a:latin typeface="Newson GLS" panose="020B0603040202020204" pitchFamily="34" charset="0"/>
              <a:ea typeface="Newson GLS" panose="020B0603040202020204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Click on it and then select a shipper</a:t>
            </a:r>
            <a:endParaRPr lang="de-DE" dirty="0">
              <a:solidFill>
                <a:schemeClr val="bg1"/>
              </a:solidFill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546AD4B-F440-27DE-7585-4FE94BC111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2103" t="4933" r="42293" b="66000"/>
          <a:stretch/>
        </p:blipFill>
        <p:spPr>
          <a:xfrm>
            <a:off x="2829600" y="913463"/>
            <a:ext cx="937878" cy="118800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734BF6E-CCD8-AE7E-B6E2-4DAE3DB7AD36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178759" y="439249"/>
            <a:ext cx="6239560" cy="1739782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1AEE9E7-CAC7-FA54-95D4-46780DE9E255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178757" y="3163160"/>
            <a:ext cx="6239560" cy="1768286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3" name="Pfeil: nach unten 12">
            <a:extLst>
              <a:ext uri="{FF2B5EF4-FFF2-40B4-BE49-F238E27FC236}">
                <a16:creationId xmlns:a16="http://schemas.microsoft.com/office/drawing/2014/main" id="{48BFAF43-EB1E-6297-9A51-A5BF584451DA}"/>
              </a:ext>
            </a:extLst>
          </p:cNvPr>
          <p:cNvSpPr/>
          <p:nvPr/>
        </p:nvSpPr>
        <p:spPr>
          <a:xfrm>
            <a:off x="3479478" y="2903016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5" name="Grafik 4" descr="Ein Bild, das Text, Screenshot, Software, Computersymbol enthält.&#10;&#10;Automatisch generierte Beschreibung">
            <a:extLst>
              <a:ext uri="{FF2B5EF4-FFF2-40B4-BE49-F238E27FC236}">
                <a16:creationId xmlns:a16="http://schemas.microsoft.com/office/drawing/2014/main" id="{104EBAD3-5019-CD4D-C07F-073EAF5BE0B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89843"/>
          <a:stretch/>
        </p:blipFill>
        <p:spPr>
          <a:xfrm>
            <a:off x="178757" y="1426962"/>
            <a:ext cx="1292167" cy="3547107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4CB48B6B-312C-496B-12BF-7763DD538D66}"/>
              </a:ext>
            </a:extLst>
          </p:cNvPr>
          <p:cNvSpPr/>
          <p:nvPr/>
        </p:nvSpPr>
        <p:spPr>
          <a:xfrm rot="5400000">
            <a:off x="1466262" y="2694470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656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4026435-EBB0-4353-A250-22744CAEB0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5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4026435-EBB0-4353-A250-22744CAEB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2604645-BD76-4EBE-9A3F-B03F74B4AE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7060" y="791044"/>
            <a:ext cx="2171351" cy="103775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800" dirty="0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tep 3:</a:t>
            </a:r>
          </a:p>
          <a:p>
            <a:pPr>
              <a:spcAft>
                <a:spcPts val="600"/>
              </a:spcAft>
            </a:pPr>
            <a:r>
              <a:rPr lang="en-US" sz="1800" dirty="0">
                <a:latin typeface="Newson GLS" panose="020B0603040202020204" pitchFamily="34" charset="0"/>
                <a:ea typeface="Newson GLS" panose="020B0603040202020204" pitchFamily="34" charset="0"/>
              </a:rPr>
              <a:t>Climate Protect Documents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ADE9D8-D38A-4351-88F3-E78D2F9541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07060" y="1946246"/>
            <a:ext cx="2286758" cy="2406209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On the right side of the dashboard, you will find the </a:t>
            </a:r>
            <a:r>
              <a:rPr lang="en-US" b="1" dirty="0">
                <a:latin typeface="Newson GLS" panose="020B0603040202020204" pitchFamily="34" charset="0"/>
                <a:ea typeface="Newson GLS" panose="020B0603040202020204" pitchFamily="34" charset="0"/>
              </a:rPr>
              <a:t>section Climate Protect documents </a:t>
            </a:r>
          </a:p>
          <a:p>
            <a:pPr>
              <a:spcAft>
                <a:spcPts val="600"/>
              </a:spcAft>
            </a:pP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Click on the </a:t>
            </a:r>
            <a:r>
              <a:rPr lang="en-US" b="1" dirty="0">
                <a:latin typeface="Newson GLS" panose="020B0603040202020204" pitchFamily="34" charset="0"/>
                <a:ea typeface="Newson GLS" panose="020B0603040202020204" pitchFamily="34" charset="0"/>
              </a:rPr>
              <a:t>"Retrieve certificate"</a:t>
            </a: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 field in the window that opens</a:t>
            </a:r>
          </a:p>
          <a:p>
            <a:pPr>
              <a:spcAft>
                <a:spcPts val="600"/>
              </a:spcAft>
            </a:pPr>
            <a:r>
              <a:rPr lang="en-US" dirty="0">
                <a:latin typeface="Newson GLS" panose="020B0603040202020204" pitchFamily="34" charset="0"/>
                <a:ea typeface="Newson GLS" panose="020B0603040202020204" pitchFamily="34" charset="0"/>
              </a:rPr>
              <a:t>You will then be redirected to your individual customer page</a:t>
            </a:r>
            <a:endParaRPr lang="en-US" sz="1050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3082" name="Picture 10" descr="icon information_yellow">
            <a:extLst>
              <a:ext uri="{FF2B5EF4-FFF2-40B4-BE49-F238E27FC236}">
                <a16:creationId xmlns:a16="http://schemas.microsoft.com/office/drawing/2014/main" id="{19338693-CC4F-4B5F-8F78-36B1E5AEB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167" b="96667" l="3167" r="96167">
                        <a14:foregroundMark x1="41333" y1="25833" x2="41333" y2="25833"/>
                        <a14:foregroundMark x1="35667" y1="25333" x2="43333" y2="14833"/>
                        <a14:foregroundMark x1="39000" y1="22000" x2="22667" y2="36000"/>
                        <a14:foregroundMark x1="24000" y1="43667" x2="23167" y2="49500"/>
                        <a14:foregroundMark x1="15333" y1="40833" x2="21167" y2="64333"/>
                        <a14:foregroundMark x1="5833" y1="44167" x2="17000" y2="76333"/>
                        <a14:foregroundMark x1="17000" y1="76333" x2="49500" y2="91333"/>
                        <a14:foregroundMark x1="49500" y1="91333" x2="78000" y2="67333"/>
                        <a14:foregroundMark x1="78000" y1="67333" x2="77667" y2="33333"/>
                        <a14:foregroundMark x1="77667" y1="33333" x2="49167" y2="7500"/>
                        <a14:foregroundMark x1="49167" y1="7500" x2="37500" y2="7500"/>
                        <a14:foregroundMark x1="95333" y1="44667" x2="96333" y2="51333"/>
                        <a14:foregroundMark x1="47667" y1="96167" x2="54000" y2="96667"/>
                        <a14:foregroundMark x1="3333" y1="56167" x2="4333" y2="50000"/>
                        <a14:foregroundMark x1="45667" y1="2167" x2="53000" y2="21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940" y="160479"/>
            <a:ext cx="452523" cy="452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4548F16-460D-BEB8-3E19-04E6358EECA5}"/>
              </a:ext>
            </a:extLst>
          </p:cNvPr>
          <p:cNvSpPr txBox="1"/>
          <p:nvPr/>
        </p:nvSpPr>
        <p:spPr>
          <a:xfrm>
            <a:off x="3223949" y="227278"/>
            <a:ext cx="5712991" cy="318924"/>
          </a:xfrm>
          <a:prstGeom prst="rect">
            <a:avLst/>
          </a:prstGeom>
          <a:noFill/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800" i="1" dirty="0">
                <a:latin typeface="Newson GLS" panose="020B0603040202020204" pitchFamily="34" charset="0"/>
                <a:ea typeface="Newson GLS" panose="020B0603040202020204" pitchFamily="34" charset="0"/>
              </a:rPr>
              <a:t>In cooperation with </a:t>
            </a:r>
            <a:r>
              <a:rPr lang="en-US" sz="800" b="1" i="1" dirty="0">
                <a:latin typeface="Newson GLS" panose="020B0603040202020204" pitchFamily="34" charset="0"/>
                <a:ea typeface="Newson GLS" panose="020B0603040202020204" pitchFamily="34" charset="0"/>
              </a:rPr>
              <a:t>ClimatePartner</a:t>
            </a:r>
            <a:r>
              <a:rPr lang="en-US" sz="800" i="1" dirty="0">
                <a:latin typeface="Newson GLS" panose="020B0603040202020204" pitchFamily="34" charset="0"/>
                <a:ea typeface="Newson GLS" panose="020B0603040202020204" pitchFamily="34" charset="0"/>
              </a:rPr>
              <a:t>, we additionally and voluntarily compensate the amount of greenhouse gas emissions caused by parcel transportation, business travel and the use of buildings</a:t>
            </a:r>
            <a:endParaRPr lang="de-DE" sz="800" i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9822949-B83B-B2EE-4905-04F7A429AB5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2759340" y="798361"/>
            <a:ext cx="6240660" cy="1756029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7217949A-C17F-7A43-9190-0A2D549A63AB}"/>
              </a:ext>
            </a:extLst>
          </p:cNvPr>
          <p:cNvSpPr/>
          <p:nvPr/>
        </p:nvSpPr>
        <p:spPr>
          <a:xfrm>
            <a:off x="3455670" y="1177290"/>
            <a:ext cx="1005840" cy="685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000" dirty="0" err="1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8753E51-55F8-B3C0-D637-BBF72C1304E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864" t="4547" b="1952"/>
          <a:stretch/>
        </p:blipFill>
        <p:spPr>
          <a:xfrm>
            <a:off x="5464800" y="2001600"/>
            <a:ext cx="2874603" cy="1994428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Pfeil: nach unten 11">
            <a:extLst>
              <a:ext uri="{FF2B5EF4-FFF2-40B4-BE49-F238E27FC236}">
                <a16:creationId xmlns:a16="http://schemas.microsoft.com/office/drawing/2014/main" id="{A567C28F-2283-E48F-0C0E-D9DAD251302F}"/>
              </a:ext>
            </a:extLst>
          </p:cNvPr>
          <p:cNvSpPr/>
          <p:nvPr/>
        </p:nvSpPr>
        <p:spPr>
          <a:xfrm rot="16200000">
            <a:off x="7694130" y="1163754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13" name="Pfeil: nach unten 12">
            <a:extLst>
              <a:ext uri="{FF2B5EF4-FFF2-40B4-BE49-F238E27FC236}">
                <a16:creationId xmlns:a16="http://schemas.microsoft.com/office/drawing/2014/main" id="{AEDDFC5F-FD8D-2C5B-FB3A-79C1589598FB}"/>
              </a:ext>
            </a:extLst>
          </p:cNvPr>
          <p:cNvSpPr/>
          <p:nvPr/>
        </p:nvSpPr>
        <p:spPr>
          <a:xfrm rot="16200000">
            <a:off x="4996200" y="3419274"/>
            <a:ext cx="288000" cy="540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5671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92DCF4D-4BF7-44C5-9D27-02C57DD3D0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3393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92DCF4D-4BF7-44C5-9D27-02C57DD3D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E95C3E3-719D-4345-B914-4108A41722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86771" y="1510095"/>
            <a:ext cx="2339030" cy="239379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1200" dirty="0">
                <a:latin typeface="Newson GLS" panose="020B0603040202020204" pitchFamily="34" charset="0"/>
                <a:ea typeface="Newson GLS" panose="020B0603040202020204" pitchFamily="34" charset="0"/>
              </a:rPr>
              <a:t>On your customer page you can view and </a:t>
            </a:r>
            <a:r>
              <a:rPr lang="en-US" sz="1200" b="1" dirty="0">
                <a:latin typeface="Newson GLS" panose="020B0603040202020204" pitchFamily="34" charset="0"/>
                <a:ea typeface="Newson GLS" panose="020B0603040202020204" pitchFamily="34" charset="0"/>
              </a:rPr>
              <a:t>download</a:t>
            </a:r>
            <a:r>
              <a:rPr lang="en-US" sz="1200" dirty="0">
                <a:latin typeface="Newson GLS" panose="020B0603040202020204" pitchFamily="34" charset="0"/>
                <a:ea typeface="Newson GLS" panose="020B0603040202020204" pitchFamily="34" charset="0"/>
              </a:rPr>
              <a:t> your individual </a:t>
            </a:r>
            <a:r>
              <a:rPr lang="en-US" sz="1200" b="1" dirty="0">
                <a:latin typeface="Newson GLS" panose="020B0603040202020204" pitchFamily="34" charset="0"/>
                <a:ea typeface="Newson GLS" panose="020B0603040202020204" pitchFamily="34" charset="0"/>
              </a:rPr>
              <a:t>Compensation Certificate</a:t>
            </a:r>
            <a:endParaRPr lang="en-US" sz="1200" dirty="0">
              <a:latin typeface="Newson GLS" panose="020B0603040202020204" pitchFamily="34" charset="0"/>
              <a:ea typeface="Newson GLS" panose="020B060304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sz="1200" dirty="0">
                <a:latin typeface="Newson GLS" panose="020B0603040202020204" pitchFamily="34" charset="0"/>
                <a:ea typeface="Newson GLS" panose="020B0603040202020204" pitchFamily="34" charset="0"/>
              </a:rPr>
              <a:t>Here you will also find more </a:t>
            </a:r>
            <a:r>
              <a:rPr lang="en-US" sz="1200" b="1" dirty="0">
                <a:latin typeface="Newson GLS" panose="020B0603040202020204" pitchFamily="34" charset="0"/>
                <a:ea typeface="Newson GLS" panose="020B0603040202020204" pitchFamily="34" charset="0"/>
              </a:rPr>
              <a:t>information</a:t>
            </a:r>
            <a:r>
              <a:rPr lang="en-US" sz="1200" dirty="0">
                <a:latin typeface="Newson GLS" panose="020B0603040202020204" pitchFamily="34" charset="0"/>
                <a:ea typeface="Newson GLS" panose="020B0603040202020204" pitchFamily="34" charset="0"/>
              </a:rPr>
              <a:t> about the climate protection project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AC58450-8C7C-46FE-B3A1-2AF946881B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929" t="10521" r="20792" b="1491"/>
          <a:stretch/>
        </p:blipFill>
        <p:spPr>
          <a:xfrm>
            <a:off x="768990" y="173712"/>
            <a:ext cx="5162400" cy="3954781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7" name="Textplatzhalter 1">
            <a:extLst>
              <a:ext uri="{FF2B5EF4-FFF2-40B4-BE49-F238E27FC236}">
                <a16:creationId xmlns:a16="http://schemas.microsoft.com/office/drawing/2014/main" id="{C5017C0B-3E75-4CB7-B00C-A5A576FD91B3}"/>
              </a:ext>
            </a:extLst>
          </p:cNvPr>
          <p:cNvSpPr txBox="1">
            <a:spLocks/>
          </p:cNvSpPr>
          <p:nvPr/>
        </p:nvSpPr>
        <p:spPr>
          <a:xfrm>
            <a:off x="6673273" y="352894"/>
            <a:ext cx="2408381" cy="15425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Verdana" panose="020B0604030504040204" pitchFamily="34" charset="0"/>
              <a:buChar char="‒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80000"/>
              <a:buFont typeface="Courier New" panose="02070309020205020404" pitchFamily="49" charset="0"/>
              <a:buChar char="o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144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70000"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800" b="1">
                <a:solidFill>
                  <a:schemeClr val="bg2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Step 4:</a:t>
            </a:r>
          </a:p>
          <a:p>
            <a:pPr>
              <a:spcAft>
                <a:spcPts val="600"/>
              </a:spcAft>
            </a:pPr>
            <a:r>
              <a:rPr lang="en-US" sz="1800" b="1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Your customer page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CFD0935-9D52-682E-95A2-E7EC64933B5C}"/>
              </a:ext>
            </a:extLst>
          </p:cNvPr>
          <p:cNvSpPr txBox="1"/>
          <p:nvPr/>
        </p:nvSpPr>
        <p:spPr>
          <a:xfrm>
            <a:off x="1002156" y="4329371"/>
            <a:ext cx="1865870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Your </a:t>
            </a:r>
            <a:r>
              <a:rPr lang="en-US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Compensation</a:t>
            </a:r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 </a:t>
            </a:r>
            <a:r>
              <a:rPr lang="en-US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Certificate</a:t>
            </a:r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 (totaled since 2022)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900F989-609E-598B-D1C6-04AD8FD7E506}"/>
              </a:ext>
            </a:extLst>
          </p:cNvPr>
          <p:cNvSpPr/>
          <p:nvPr/>
        </p:nvSpPr>
        <p:spPr>
          <a:xfrm>
            <a:off x="744379" y="4424186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1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F5EB553-2B1C-7664-86E3-72CD210AB8BD}"/>
              </a:ext>
            </a:extLst>
          </p:cNvPr>
          <p:cNvSpPr/>
          <p:nvPr/>
        </p:nvSpPr>
        <p:spPr>
          <a:xfrm>
            <a:off x="744379" y="4825788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2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C01EF319-FF90-C810-5315-F32D6104835B}"/>
              </a:ext>
            </a:extLst>
          </p:cNvPr>
          <p:cNvSpPr txBox="1"/>
          <p:nvPr/>
        </p:nvSpPr>
        <p:spPr>
          <a:xfrm>
            <a:off x="1002156" y="4722937"/>
            <a:ext cx="1865870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Your total CO</a:t>
            </a:r>
            <a:r>
              <a:rPr lang="en-US" sz="900" baseline="-25000" dirty="0">
                <a:latin typeface="Newson GLS" panose="020B0603040202020204" pitchFamily="34" charset="0"/>
                <a:ea typeface="Newson GLS" panose="020B0603040202020204" pitchFamily="34" charset="0"/>
              </a:rPr>
              <a:t>2</a:t>
            </a:r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-Offset-</a:t>
            </a:r>
            <a:r>
              <a:rPr lang="en-US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history</a:t>
            </a:r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, </a:t>
            </a:r>
            <a:b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</a:br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all certificates (current and older)</a:t>
            </a:r>
            <a:endParaRPr lang="en-US" sz="900" b="1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67A1F83-78CC-093A-2DA7-C6193048CB32}"/>
              </a:ext>
            </a:extLst>
          </p:cNvPr>
          <p:cNvSpPr txBox="1"/>
          <p:nvPr/>
        </p:nvSpPr>
        <p:spPr>
          <a:xfrm>
            <a:off x="4114629" y="4329371"/>
            <a:ext cx="1816761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More information about the </a:t>
            </a:r>
            <a:r>
              <a:rPr lang="en-US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climate protection projects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C0B79DA1-C477-B8B8-1E54-A340BAA24E86}"/>
              </a:ext>
            </a:extLst>
          </p:cNvPr>
          <p:cNvSpPr/>
          <p:nvPr/>
        </p:nvSpPr>
        <p:spPr>
          <a:xfrm>
            <a:off x="3856852" y="4424186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3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FB7F699-1232-28E9-BB6C-67B6C73B3ECD}"/>
              </a:ext>
            </a:extLst>
          </p:cNvPr>
          <p:cNvSpPr/>
          <p:nvPr/>
        </p:nvSpPr>
        <p:spPr>
          <a:xfrm>
            <a:off x="3856852" y="4819586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4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476A543-6837-EF6E-5140-E8006ABE223B}"/>
              </a:ext>
            </a:extLst>
          </p:cNvPr>
          <p:cNvSpPr txBox="1"/>
          <p:nvPr/>
        </p:nvSpPr>
        <p:spPr>
          <a:xfrm>
            <a:off x="4114629" y="4716735"/>
            <a:ext cx="1816761" cy="349702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effectLst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900" dirty="0">
                <a:latin typeface="Newson GLS" panose="020B0603040202020204" pitchFamily="34" charset="0"/>
                <a:ea typeface="Newson GLS" panose="020B0603040202020204" pitchFamily="34" charset="0"/>
              </a:rPr>
              <a:t>Here you will be forwarded to the </a:t>
            </a:r>
            <a:r>
              <a:rPr lang="en-US" sz="900" b="1" dirty="0">
                <a:latin typeface="Newson GLS" panose="020B0603040202020204" pitchFamily="34" charset="0"/>
                <a:ea typeface="Newson GLS" panose="020B0603040202020204" pitchFamily="34" charset="0"/>
              </a:rPr>
              <a:t>GLS Group homepage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E390F807-1191-D226-867E-715DD03D2A87}"/>
              </a:ext>
            </a:extLst>
          </p:cNvPr>
          <p:cNvSpPr/>
          <p:nvPr/>
        </p:nvSpPr>
        <p:spPr>
          <a:xfrm>
            <a:off x="1091969" y="528053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1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00DF23DF-E811-962F-01FE-6A686203112C}"/>
              </a:ext>
            </a:extLst>
          </p:cNvPr>
          <p:cNvSpPr/>
          <p:nvPr/>
        </p:nvSpPr>
        <p:spPr>
          <a:xfrm>
            <a:off x="3278190" y="2079102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2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B444B409-8B12-CCAF-DC90-FE0FA72B5BA1}"/>
              </a:ext>
            </a:extLst>
          </p:cNvPr>
          <p:cNvSpPr/>
          <p:nvPr/>
        </p:nvSpPr>
        <p:spPr>
          <a:xfrm>
            <a:off x="4951009" y="1909531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3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D675C9F9-9C1E-80AE-63A7-21BCBC16BCE3}"/>
              </a:ext>
            </a:extLst>
          </p:cNvPr>
          <p:cNvSpPr/>
          <p:nvPr/>
        </p:nvSpPr>
        <p:spPr>
          <a:xfrm>
            <a:off x="3277426" y="3264437"/>
            <a:ext cx="144000" cy="144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b="1" dirty="0">
                <a:solidFill>
                  <a:schemeClr val="tx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4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96860EE5-2006-4A84-1C47-48C44AE0B575}"/>
              </a:ext>
            </a:extLst>
          </p:cNvPr>
          <p:cNvSpPr/>
          <p:nvPr/>
        </p:nvSpPr>
        <p:spPr>
          <a:xfrm>
            <a:off x="4815412" y="280894"/>
            <a:ext cx="1115978" cy="14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800" dirty="0">
                <a:solidFill>
                  <a:srgbClr val="616160"/>
                </a:solidFill>
              </a:rPr>
              <a:t>12345-1234-12345</a:t>
            </a:r>
          </a:p>
        </p:txBody>
      </p:sp>
    </p:spTree>
    <p:extLst>
      <p:ext uri="{BB962C8B-B14F-4D97-AF65-F5344CB8AC3E}">
        <p14:creationId xmlns:p14="http://schemas.microsoft.com/office/powerpoint/2010/main" val="1886290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6CC1DF6-00DD-4FBE-B9CB-B5D0973812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010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6CC1DF6-00DD-4FBE-B9CB-B5D097381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5552F14-A1E3-4604-8202-F72420C841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43EC4F4-91B5-492D-B43E-B1C2126FDC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9932" y="822960"/>
            <a:ext cx="4103648" cy="1829485"/>
          </a:xfrm>
        </p:spPr>
        <p:txBody>
          <a:bodyPr vert="horz"/>
          <a:lstStyle/>
          <a:p>
            <a:r>
              <a:rPr lang="en-US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You receive </a:t>
            </a:r>
            <a:r>
              <a:rPr lang="en-US" sz="1800" dirty="0">
                <a:latin typeface="Newson GLS" panose="020B0603040202020204" pitchFamily="34" charset="0"/>
                <a:ea typeface="Newson GLS" panose="020B0603040202020204" pitchFamily="34" charset="0"/>
              </a:rPr>
              <a:t>annually</a:t>
            </a:r>
            <a:r>
              <a:rPr lang="en-US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 a certificate which officially confirms </a:t>
            </a:r>
            <a:r>
              <a:rPr lang="en-US" sz="1800" dirty="0">
                <a:latin typeface="Newson GLS" panose="020B0603040202020204" pitchFamily="34" charset="0"/>
                <a:ea typeface="Newson GLS" panose="020B0603040202020204" pitchFamily="34" charset="0"/>
              </a:rPr>
              <a:t>your contribution to </a:t>
            </a:r>
            <a:r>
              <a:rPr lang="en-US" sz="1800" dirty="0">
                <a:latin typeface="Newson GLS" panose="020B0603040202020204" pitchFamily="34" charset="0"/>
                <a:ea typeface="Newson GLS" panose="020B060304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bon compensation</a:t>
            </a:r>
            <a:r>
              <a:rPr lang="en-US" sz="1800" baseline="30000" dirty="0">
                <a:latin typeface="Newson GLS" panose="020B0603040202020204" pitchFamily="34" charset="0"/>
                <a:ea typeface="Newson GLS" panose="020B0603040202020204" pitchFamily="34" charset="0"/>
              </a:rPr>
              <a:t>*</a:t>
            </a:r>
            <a:r>
              <a:rPr lang="en-US" sz="1800" dirty="0">
                <a:latin typeface="Newson GLS" panose="020B0603040202020204" pitchFamily="34" charset="0"/>
                <a:ea typeface="Newson GLS" panose="020B0603040202020204" pitchFamily="34" charset="0"/>
              </a:rPr>
              <a:t> </a:t>
            </a:r>
            <a:r>
              <a:rPr lang="en-US" sz="1800" b="0" dirty="0">
                <a:latin typeface="Newson GLS" panose="020B0603040202020204" pitchFamily="34" charset="0"/>
                <a:ea typeface="Newson GLS" panose="020B0603040202020204" pitchFamily="34" charset="0"/>
              </a:rPr>
              <a:t>through climate protection projects</a:t>
            </a:r>
            <a:endParaRPr lang="de-DE" sz="1800" b="0" dirty="0"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97B4DFD-F9F9-4A83-ABA8-8D814ADAA84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33" t="943" r="1176" b="1145"/>
          <a:stretch/>
        </p:blipFill>
        <p:spPr>
          <a:xfrm>
            <a:off x="5063836" y="48491"/>
            <a:ext cx="3588328" cy="5036128"/>
          </a:xfrm>
          <a:prstGeom prst="rect">
            <a:avLst/>
          </a:prstGeom>
          <a:ln>
            <a:solidFill>
              <a:schemeClr val="tx1">
                <a:lumMod val="10000"/>
                <a:lumOff val="9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55DAFE5B-36C1-4E8E-86EE-BBE9C83A89C1}"/>
              </a:ext>
            </a:extLst>
          </p:cNvPr>
          <p:cNvSpPr txBox="1"/>
          <p:nvPr/>
        </p:nvSpPr>
        <p:spPr>
          <a:xfrm>
            <a:off x="5237034" y="211191"/>
            <a:ext cx="2140528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Exampl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A4F3390-86F9-4571-A728-0423B43590C8}"/>
              </a:ext>
            </a:extLst>
          </p:cNvPr>
          <p:cNvSpPr txBox="1"/>
          <p:nvPr/>
        </p:nvSpPr>
        <p:spPr>
          <a:xfrm>
            <a:off x="0" y="4886131"/>
            <a:ext cx="4259937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600" i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*</a:t>
            </a:r>
            <a:r>
              <a:rPr lang="en-US" sz="600" i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Compensation of greenhouse gas emissions resulting from parcel shipping by investing into climate protection projects</a:t>
            </a:r>
            <a:r>
              <a:rPr lang="de-DE" sz="600" i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. Info at </a:t>
            </a:r>
            <a:r>
              <a:rPr lang="de-DE" sz="600" i="1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ls-group.eu/DE/en/compensation/</a:t>
            </a:r>
            <a:endParaRPr lang="de-DE" sz="600" i="1" dirty="0">
              <a:solidFill>
                <a:schemeClr val="bg1"/>
              </a:solidFill>
              <a:latin typeface="Newson GLS" panose="020B0603040202020204" pitchFamily="34" charset="0"/>
              <a:ea typeface="Newson GLS" panose="020B0603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0001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069EC30-71A0-42DA-8FF3-BDDC8C961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8216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069EC30-71A0-42DA-8FF3-BDDC8C961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dplatzhalter 2">
            <a:extLst>
              <a:ext uri="{FF2B5EF4-FFF2-40B4-BE49-F238E27FC236}">
                <a16:creationId xmlns:a16="http://schemas.microsoft.com/office/drawing/2014/main" id="{735F0E7A-E8DF-438A-91F8-265B98AE2E9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88" y="0"/>
            <a:ext cx="4570412" cy="514350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186B75E-DCD5-4541-93F3-4E1B904AC186}"/>
              </a:ext>
            </a:extLst>
          </p:cNvPr>
          <p:cNvSpPr/>
          <p:nvPr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 sz="1000" dirty="0" err="1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20D4CB7-9B3C-4841-87E9-2F02325CCE4D}"/>
              </a:ext>
            </a:extLst>
          </p:cNvPr>
          <p:cNvSpPr txBox="1">
            <a:spLocks/>
          </p:cNvSpPr>
          <p:nvPr/>
        </p:nvSpPr>
        <p:spPr>
          <a:xfrm>
            <a:off x="4835236" y="1705132"/>
            <a:ext cx="4003964" cy="866618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 dirty="0">
                <a:solidFill>
                  <a:schemeClr val="bg1"/>
                </a:solidFill>
                <a:latin typeface="Newson GLS" panose="020B0603040202020204" pitchFamily="34" charset="0"/>
                <a:ea typeface="Newson GLS" panose="020B0603040202020204" pitchFamily="34" charset="0"/>
              </a:rPr>
              <a:t>Thank you for your contribution to sustainability!</a:t>
            </a:r>
          </a:p>
        </p:txBody>
      </p:sp>
      <p:pic>
        <p:nvPicPr>
          <p:cNvPr id="9" name="Afbeelding 5">
            <a:extLst>
              <a:ext uri="{FF2B5EF4-FFF2-40B4-BE49-F238E27FC236}">
                <a16:creationId xmlns:a16="http://schemas.microsoft.com/office/drawing/2014/main" id="{F31C4063-79A7-48CE-8983-0C5E25BF6E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029" y="2571750"/>
            <a:ext cx="1489942" cy="5661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7642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LS 2021">
  <a:themeElements>
    <a:clrScheme name="GLS">
      <a:dk1>
        <a:srgbClr val="231F20"/>
      </a:dk1>
      <a:lt1>
        <a:srgbClr val="FFFFFF"/>
      </a:lt1>
      <a:dk2>
        <a:srgbClr val="061AB1"/>
      </a:dk2>
      <a:lt2>
        <a:srgbClr val="FFD100"/>
      </a:lt2>
      <a:accent1>
        <a:srgbClr val="C8E7F2"/>
      </a:accent1>
      <a:accent2>
        <a:srgbClr val="F3C8D4"/>
      </a:accent2>
      <a:accent3>
        <a:srgbClr val="C0E2AD"/>
      </a:accent3>
      <a:accent4>
        <a:srgbClr val="1601FF"/>
      </a:accent4>
      <a:accent5>
        <a:srgbClr val="00C2F0"/>
      </a:accent5>
      <a:accent6>
        <a:srgbClr val="FF860D"/>
      </a:accent6>
      <a:hlink>
        <a:srgbClr val="061AB1"/>
      </a:hlink>
      <a:folHlink>
        <a:srgbClr val="061AB1"/>
      </a:folHlink>
    </a:clrScheme>
    <a:fontScheme name="GL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36000" tIns="36000" rIns="36000" bIns="36000" rtlCol="0" anchor="ctr"/>
      <a:lstStyle>
        <a:defPPr algn="ctr"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36000" tIns="36000" rIns="36000" bIns="36000" rtlCol="0">
        <a:spAutoFit/>
      </a:bodyPr>
      <a:lstStyle>
        <a:defPPr>
          <a:defRPr sz="1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LS_Powerpoint_TEMPLATE_DE_2021-10_final.potx" id="{70938C5E-DB24-488C-96C4-7B45CEF0B66C}" vid="{B11040B1-626B-4B3E-AD25-EFA67DE8BC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3018B42E88AAB469309FB0026414B05" ma:contentTypeVersion="16" ma:contentTypeDescription="Ein neues Dokument erstellen." ma:contentTypeScope="" ma:versionID="c1e597034af8167dbcb72ba4692b5814">
  <xsd:schema xmlns:xsd="http://www.w3.org/2001/XMLSchema" xmlns:xs="http://www.w3.org/2001/XMLSchema" xmlns:p="http://schemas.microsoft.com/office/2006/metadata/properties" xmlns:ns2="99ac789d-4ceb-4727-b128-bae3231c8c78" xmlns:ns3="e5f72f91-fe08-47dc-b0ca-62450bbcbd66" targetNamespace="http://schemas.microsoft.com/office/2006/metadata/properties" ma:root="true" ma:fieldsID="87dd97f70c2ae47c54195b7f07965f71" ns2:_="" ns3:_="">
    <xsd:import namespace="99ac789d-4ceb-4727-b128-bae3231c8c78"/>
    <xsd:import namespace="e5f72f91-fe08-47dc-b0ca-62450bbcbd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ac789d-4ceb-4727-b128-bae3231c8c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ef3fdef3-1b22-4944-a43e-368a12428d6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f72f91-fe08-47dc-b0ca-62450bbcbd6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e045b310-172a-4274-be72-b77a9bb78c40}" ma:internalName="TaxCatchAll" ma:showField="CatchAllData" ma:web="e5f72f91-fe08-47dc-b0ca-62450bbcbd6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9ac789d-4ceb-4727-b128-bae3231c8c78">
      <Terms xmlns="http://schemas.microsoft.com/office/infopath/2007/PartnerControls"/>
    </lcf76f155ced4ddcb4097134ff3c332f>
    <TaxCatchAll xmlns="e5f72f91-fe08-47dc-b0ca-62450bbcbd66" xsi:nil="true"/>
  </documentManagement>
</p:properties>
</file>

<file path=customXml/itemProps1.xml><?xml version="1.0" encoding="utf-8"?>
<ds:datastoreItem xmlns:ds="http://schemas.openxmlformats.org/officeDocument/2006/customXml" ds:itemID="{A01A1495-94FC-4477-B71F-1B9038C6D5C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D75EE5E-02C0-41AF-B5FF-249C1D4828A9}"/>
</file>

<file path=customXml/itemProps3.xml><?xml version="1.0" encoding="utf-8"?>
<ds:datastoreItem xmlns:ds="http://schemas.openxmlformats.org/officeDocument/2006/customXml" ds:itemID="{BCB42503-29D2-4D29-A567-966791AD0CD9}">
  <ds:schemaRefs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www.w3.org/XML/1998/namespace"/>
    <ds:schemaRef ds:uri="e5f72f91-fe08-47dc-b0ca-62450bbcbd66"/>
    <ds:schemaRef ds:uri="http://schemas.openxmlformats.org/package/2006/metadata/core-properties"/>
    <ds:schemaRef ds:uri="http://schemas.microsoft.com/office/2006/metadata/properties"/>
    <ds:schemaRef ds:uri="http://purl.org/dc/terms/"/>
    <ds:schemaRef ds:uri="99ac789d-4ceb-4727-b128-bae3231c8c78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LS_Powerpoint_TEMPLATE_DE_2021-10_final</Template>
  <TotalTime>0</TotalTime>
  <Words>265</Words>
  <Application>Microsoft Office PowerPoint</Application>
  <PresentationFormat>Bildschirmpräsentation (16:9)</PresentationFormat>
  <Paragraphs>36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4" baseType="lpstr">
      <vt:lpstr>Arial</vt:lpstr>
      <vt:lpstr>Calibri</vt:lpstr>
      <vt:lpstr>Courier New</vt:lpstr>
      <vt:lpstr>Newson GLS</vt:lpstr>
      <vt:lpstr>Verdana</vt:lpstr>
      <vt:lpstr>GLS 2021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You receive annually a certificate which officially confirms your contribution to carbon compensation* through climate protection projects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imitri Militschenko</dc:creator>
  <cp:lastModifiedBy>Dimitri Militschenko</cp:lastModifiedBy>
  <cp:revision>31</cp:revision>
  <dcterms:created xsi:type="dcterms:W3CDTF">2022-10-10T13:21:29Z</dcterms:created>
  <dcterms:modified xsi:type="dcterms:W3CDTF">2024-07-03T07:40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018B42E88AAB469309FB0026414B05</vt:lpwstr>
  </property>
  <property fmtid="{D5CDD505-2E9C-101B-9397-08002B2CF9AE}" pid="3" name="MediaServiceImageTags">
    <vt:lpwstr/>
  </property>
</Properties>
</file>